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778" r:id="rId4"/>
  </p:sldMasterIdLst>
  <p:notesMasterIdLst>
    <p:notesMasterId r:id="rId25"/>
  </p:notesMasterIdLst>
  <p:sldIdLst>
    <p:sldId id="1483" r:id="rId5"/>
    <p:sldId id="2500" r:id="rId6"/>
    <p:sldId id="2539" r:id="rId7"/>
    <p:sldId id="2533" r:id="rId8"/>
    <p:sldId id="2540" r:id="rId9"/>
    <p:sldId id="2541" r:id="rId10"/>
    <p:sldId id="2542" r:id="rId11"/>
    <p:sldId id="2543" r:id="rId12"/>
    <p:sldId id="2544" r:id="rId13"/>
    <p:sldId id="2545" r:id="rId14"/>
    <p:sldId id="2546" r:id="rId15"/>
    <p:sldId id="2547" r:id="rId16"/>
    <p:sldId id="2548" r:id="rId17"/>
    <p:sldId id="2549" r:id="rId18"/>
    <p:sldId id="2550" r:id="rId19"/>
    <p:sldId id="2551" r:id="rId20"/>
    <p:sldId id="2552" r:id="rId21"/>
    <p:sldId id="2553" r:id="rId22"/>
    <p:sldId id="2554" r:id="rId23"/>
    <p:sldId id="1522" r:id="rId24"/>
  </p:sldIdLst>
  <p:sldSz cx="12192000" cy="6858000"/>
  <p:notesSz cx="6858000" cy="9144000"/>
  <p:embeddedFontLst>
    <p:embeddedFont>
      <p:font typeface="Avenir Book" panose="020B0604020202020204" charset="0"/>
      <p:regular r:id="rId26"/>
      <p:italic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Century Gothic" panose="020B0502020202020204" pitchFamily="34" charset="0"/>
      <p:regular r:id="rId32"/>
      <p:bold r:id="rId33"/>
      <p:italic r:id="rId34"/>
      <p:boldItalic r:id="rId35"/>
    </p:embeddedFont>
  </p:embeddedFontLst>
  <p:custDataLst>
    <p:tags r:id="rId36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AB696886-0201-4F02-B83C-A6495674D924}">
          <p14:sldIdLst>
            <p14:sldId id="1483"/>
            <p14:sldId id="2500"/>
            <p14:sldId id="2539"/>
            <p14:sldId id="2533"/>
            <p14:sldId id="2540"/>
            <p14:sldId id="2541"/>
            <p14:sldId id="2542"/>
            <p14:sldId id="2543"/>
            <p14:sldId id="2544"/>
            <p14:sldId id="2545"/>
            <p14:sldId id="2546"/>
            <p14:sldId id="2547"/>
            <p14:sldId id="2548"/>
            <p14:sldId id="2549"/>
            <p14:sldId id="2550"/>
            <p14:sldId id="2551"/>
            <p14:sldId id="2552"/>
            <p14:sldId id="2553"/>
            <p14:sldId id="2554"/>
            <p14:sldId id="15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4407" userDrawn="1">
          <p15:clr>
            <a:srgbClr val="A4A3A4"/>
          </p15:clr>
        </p15:guide>
        <p15:guide id="3" orient="horz" pos="202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Francisco Villalba De Madariaga" initials="FVDM" lastIdx="73" clrIdx="1">
    <p:extLst>
      <p:ext uri="{19B8F6BF-5375-455C-9EA6-DF929625EA0E}">
        <p15:presenceInfo xmlns:p15="http://schemas.microsoft.com/office/powerpoint/2012/main" userId="S-1-5-21-2915997116-4131603029-1789207793-352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CDCE"/>
    <a:srgbClr val="FDEDEE"/>
    <a:srgbClr val="FCE4E5"/>
    <a:srgbClr val="1F4E79"/>
    <a:srgbClr val="D9D9D9"/>
    <a:srgbClr val="6084B2"/>
    <a:srgbClr val="000000"/>
    <a:srgbClr val="F89F50"/>
    <a:srgbClr val="255683"/>
    <a:srgbClr val="0378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EA0C040-3B5B-4ED6-94F9-D68EEB265B8E}" v="48" dt="2022-12-21T15:17:53.260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Estilo temático 1 - Énfasi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 pos="731"/>
        <p:guide pos="4407"/>
        <p:guide orient="horz" pos="202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font" Target="fonts/font9.fntdata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7.fntdata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a Isabel Silla Cortes" userId="S::asillaco@emeal.nttdata.com::b546b5c1-2aeb-468b-a361-4830835db4b0" providerId="AD" clId="Web-{EF8A7629-A0CF-4146-9038-57DDCB183411}"/>
    <pc:docChg chg="addSld delSld modSld modSection">
      <pc:chgData name="Ana Isabel Silla Cortes" userId="S::asillaco@emeal.nttdata.com::b546b5c1-2aeb-468b-a361-4830835db4b0" providerId="AD" clId="Web-{EF8A7629-A0CF-4146-9038-57DDCB183411}" dt="2022-05-03T09:20:28.557" v="253" actId="20577"/>
      <pc:docMkLst>
        <pc:docMk/>
      </pc:docMkLst>
      <pc:sldChg chg="addSp delSp modSp">
        <pc:chgData name="Ana Isabel Silla Cortes" userId="S::asillaco@emeal.nttdata.com::b546b5c1-2aeb-468b-a361-4830835db4b0" providerId="AD" clId="Web-{EF8A7629-A0CF-4146-9038-57DDCB183411}" dt="2022-05-03T09:05:30.519" v="43" actId="14100"/>
        <pc:sldMkLst>
          <pc:docMk/>
          <pc:sldMk cId="2448940607" sldId="2472"/>
        </pc:sldMkLst>
        <pc:spChg chg="del mod">
          <ac:chgData name="Ana Isabel Silla Cortes" userId="S::asillaco@emeal.nttdata.com::b546b5c1-2aeb-468b-a361-4830835db4b0" providerId="AD" clId="Web-{EF8A7629-A0CF-4146-9038-57DDCB183411}" dt="2022-05-03T09:03:07.266" v="18"/>
          <ac:spMkLst>
            <pc:docMk/>
            <pc:sldMk cId="2448940607" sldId="2472"/>
            <ac:spMk id="4" creationId="{CB7081DE-6251-4544-A2ED-A2D04B1F1815}"/>
          </ac:spMkLst>
        </pc:spChg>
        <pc:spChg chg="add mod">
          <ac:chgData name="Ana Isabel Silla Cortes" userId="S::asillaco@emeal.nttdata.com::b546b5c1-2aeb-468b-a361-4830835db4b0" providerId="AD" clId="Web-{EF8A7629-A0CF-4146-9038-57DDCB183411}" dt="2022-05-03T09:05:30.519" v="43" actId="14100"/>
          <ac:spMkLst>
            <pc:docMk/>
            <pc:sldMk cId="2448940607" sldId="2472"/>
            <ac:spMk id="9" creationId="{D7D31A86-749A-3617-6B38-C9E59FA3B028}"/>
          </ac:spMkLst>
        </pc:spChg>
        <pc:spChg chg="del">
          <ac:chgData name="Ana Isabel Silla Cortes" userId="S::asillaco@emeal.nttdata.com::b546b5c1-2aeb-468b-a361-4830835db4b0" providerId="AD" clId="Web-{EF8A7629-A0CF-4146-9038-57DDCB183411}" dt="2022-05-03T09:03:05.797" v="17"/>
          <ac:spMkLst>
            <pc:docMk/>
            <pc:sldMk cId="2448940607" sldId="2472"/>
            <ac:spMk id="11" creationId="{312B727F-8E65-FF5F-2B91-0E1DDC54D6F3}"/>
          </ac:spMkLst>
        </pc:spChg>
        <pc:spChg chg="mod">
          <ac:chgData name="Ana Isabel Silla Cortes" userId="S::asillaco@emeal.nttdata.com::b546b5c1-2aeb-468b-a361-4830835db4b0" providerId="AD" clId="Web-{EF8A7629-A0CF-4146-9038-57DDCB183411}" dt="2022-05-03T09:05:20.863" v="40" actId="20577"/>
          <ac:spMkLst>
            <pc:docMk/>
            <pc:sldMk cId="2448940607" sldId="2472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EF8A7629-A0CF-4146-9038-57DDCB183411}" dt="2022-05-03T09:03:03.172" v="15"/>
          <ac:picMkLst>
            <pc:docMk/>
            <pc:sldMk cId="2448940607" sldId="2472"/>
            <ac:picMk id="2" creationId="{86A14205-548D-DB29-2510-2592C30864AB}"/>
          </ac:picMkLst>
        </pc:picChg>
        <pc:picChg chg="add mod">
          <ac:chgData name="Ana Isabel Silla Cortes" userId="S::asillaco@emeal.nttdata.com::b546b5c1-2aeb-468b-a361-4830835db4b0" providerId="AD" clId="Web-{EF8A7629-A0CF-4146-9038-57DDCB183411}" dt="2022-05-03T09:05:27.144" v="42" actId="14100"/>
          <ac:picMkLst>
            <pc:docMk/>
            <pc:sldMk cId="2448940607" sldId="2472"/>
            <ac:picMk id="6" creationId="{3F97BCD4-634E-B4B8-D08D-99DA7350E2AC}"/>
          </ac:picMkLst>
        </pc:picChg>
        <pc:picChg chg="add del">
          <ac:chgData name="Ana Isabel Silla Cortes" userId="S::asillaco@emeal.nttdata.com::b546b5c1-2aeb-468b-a361-4830835db4b0" providerId="AD" clId="Web-{EF8A7629-A0CF-4146-9038-57DDCB183411}" dt="2022-05-03T09:04:09.626" v="23"/>
          <ac:picMkLst>
            <pc:docMk/>
            <pc:sldMk cId="2448940607" sldId="2472"/>
            <ac:picMk id="7" creationId="{7CF8C35B-9863-64D8-34ED-B04C09595BD5}"/>
          </ac:picMkLst>
        </pc:picChg>
      </pc:sldChg>
      <pc:sldChg chg="modSp">
        <pc:chgData name="Ana Isabel Silla Cortes" userId="S::asillaco@emeal.nttdata.com::b546b5c1-2aeb-468b-a361-4830835db4b0" providerId="AD" clId="Web-{EF8A7629-A0CF-4146-9038-57DDCB183411}" dt="2022-05-03T09:20:28.557" v="253" actId="20577"/>
        <pc:sldMkLst>
          <pc:docMk/>
          <pc:sldMk cId="1460187444" sldId="2473"/>
        </pc:sldMkLst>
        <pc:spChg chg="mod">
          <ac:chgData name="Ana Isabel Silla Cortes" userId="S::asillaco@emeal.nttdata.com::b546b5c1-2aeb-468b-a361-4830835db4b0" providerId="AD" clId="Web-{EF8A7629-A0CF-4146-9038-57DDCB183411}" dt="2022-05-03T09:20:28.557" v="253" actId="20577"/>
          <ac:spMkLst>
            <pc:docMk/>
            <pc:sldMk cId="1460187444" sldId="2473"/>
            <ac:spMk id="2" creationId="{4BBBE611-8AAB-382C-0782-56AB5D6BBDFA}"/>
          </ac:spMkLst>
        </pc:spChg>
      </pc:sldChg>
      <pc:sldChg chg="addSp delSp modSp">
        <pc:chgData name="Ana Isabel Silla Cortes" userId="S::asillaco@emeal.nttdata.com::b546b5c1-2aeb-468b-a361-4830835db4b0" providerId="AD" clId="Web-{EF8A7629-A0CF-4146-9038-57DDCB183411}" dt="2022-05-03T09:19:16.196" v="204" actId="20577"/>
        <pc:sldMkLst>
          <pc:docMk/>
          <pc:sldMk cId="1878004782" sldId="2474"/>
        </pc:sldMkLst>
        <pc:spChg chg="mod">
          <ac:chgData name="Ana Isabel Silla Cortes" userId="S::asillaco@emeal.nttdata.com::b546b5c1-2aeb-468b-a361-4830835db4b0" providerId="AD" clId="Web-{EF8A7629-A0CF-4146-9038-57DDCB183411}" dt="2022-05-03T09:19:16.196" v="204" actId="20577"/>
          <ac:spMkLst>
            <pc:docMk/>
            <pc:sldMk cId="1878004782" sldId="2474"/>
            <ac:spMk id="11" creationId="{0DE495B2-C8B5-EE61-96CB-522C6E3EA962}"/>
          </ac:spMkLst>
        </pc:spChg>
        <pc:spChg chg="mod">
          <ac:chgData name="Ana Isabel Silla Cortes" userId="S::asillaco@emeal.nttdata.com::b546b5c1-2aeb-468b-a361-4830835db4b0" providerId="AD" clId="Web-{EF8A7629-A0CF-4146-9038-57DDCB183411}" dt="2022-05-03T09:06:40.786" v="57" actId="20577"/>
          <ac:spMkLst>
            <pc:docMk/>
            <pc:sldMk cId="1878004782" sldId="2474"/>
            <ac:spMk id="28" creationId="{DD453CE2-6FED-4720-8043-DBD1D2185AE1}"/>
          </ac:spMkLst>
        </pc:spChg>
        <pc:picChg chg="add del mod">
          <ac:chgData name="Ana Isabel Silla Cortes" userId="S::asillaco@emeal.nttdata.com::b546b5c1-2aeb-468b-a361-4830835db4b0" providerId="AD" clId="Web-{EF8A7629-A0CF-4146-9038-57DDCB183411}" dt="2022-05-03T09:02:20.999" v="4"/>
          <ac:picMkLst>
            <pc:docMk/>
            <pc:sldMk cId="1878004782" sldId="2474"/>
            <ac:picMk id="2" creationId="{F6AAD6EA-D205-E6FB-E714-42F433EA54E8}"/>
          </ac:picMkLst>
        </pc:picChg>
        <pc:picChg chg="add mod">
          <ac:chgData name="Ana Isabel Silla Cortes" userId="S::asillaco@emeal.nttdata.com::b546b5c1-2aeb-468b-a361-4830835db4b0" providerId="AD" clId="Web-{EF8A7629-A0CF-4146-9038-57DDCB183411}" dt="2022-05-03T09:18:51.320" v="180" actId="1076"/>
          <ac:picMkLst>
            <pc:docMk/>
            <pc:sldMk cId="1878004782" sldId="2474"/>
            <ac:picMk id="4" creationId="{B2FA7B35-2E2A-B868-A805-997F56A9BE5B}"/>
          </ac:picMkLst>
        </pc:picChg>
        <pc:picChg chg="del">
          <ac:chgData name="Ana Isabel Silla Cortes" userId="S::asillaco@emeal.nttdata.com::b546b5c1-2aeb-468b-a361-4830835db4b0" providerId="AD" clId="Web-{EF8A7629-A0CF-4146-9038-57DDCB183411}" dt="2022-05-03T09:02:16.983" v="2"/>
          <ac:picMkLst>
            <pc:docMk/>
            <pc:sldMk cId="1878004782" sldId="2474"/>
            <ac:picMk id="6" creationId="{164703B6-8D4F-F5AE-F9F4-D597A13C4D26}"/>
          </ac:picMkLst>
        </pc:picChg>
        <pc:picChg chg="mod ord">
          <ac:chgData name="Ana Isabel Silla Cortes" userId="S::asillaco@emeal.nttdata.com::b546b5c1-2aeb-468b-a361-4830835db4b0" providerId="AD" clId="Web-{EF8A7629-A0CF-4146-9038-57DDCB183411}" dt="2022-05-03T09:18:54.133" v="181" actId="1076"/>
          <ac:picMkLst>
            <pc:docMk/>
            <pc:sldMk cId="1878004782" sldId="2474"/>
            <ac:picMk id="7" creationId="{FF13EF9B-6940-F5F9-0108-7C81F05D6B43}"/>
          </ac:picMkLst>
        </pc:picChg>
      </pc:sldChg>
      <pc:sldChg chg="addSp delSp modSp new del">
        <pc:chgData name="Ana Isabel Silla Cortes" userId="S::asillaco@emeal.nttdata.com::b546b5c1-2aeb-468b-a361-4830835db4b0" providerId="AD" clId="Web-{EF8A7629-A0CF-4146-9038-57DDCB183411}" dt="2022-05-03T09:19:35.602" v="205"/>
        <pc:sldMkLst>
          <pc:docMk/>
          <pc:sldMk cId="3860239779" sldId="2476"/>
        </pc:sldMkLst>
        <pc:spChg chg="del">
          <ac:chgData name="Ana Isabel Silla Cortes" userId="S::asillaco@emeal.nttdata.com::b546b5c1-2aeb-468b-a361-4830835db4b0" providerId="AD" clId="Web-{EF8A7629-A0CF-4146-9038-57DDCB183411}" dt="2022-05-03T09:02:10.952" v="1"/>
          <ac:spMkLst>
            <pc:docMk/>
            <pc:sldMk cId="3860239779" sldId="2476"/>
            <ac:spMk id="3" creationId="{6D1E96E2-86F2-82BC-C183-068DF13FC2AB}"/>
          </ac:spMkLst>
        </pc:spChg>
        <pc:picChg chg="add mod ord">
          <ac:chgData name="Ana Isabel Silla Cortes" userId="S::asillaco@emeal.nttdata.com::b546b5c1-2aeb-468b-a361-4830835db4b0" providerId="AD" clId="Web-{EF8A7629-A0CF-4146-9038-57DDCB183411}" dt="2022-05-03T09:02:10.952" v="1"/>
          <ac:picMkLst>
            <pc:docMk/>
            <pc:sldMk cId="3860239779" sldId="2476"/>
            <ac:picMk id="5" creationId="{17BAB22F-F35D-6C19-3991-BF320BF2BCE5}"/>
          </ac:picMkLst>
        </pc:picChg>
      </pc:sldChg>
      <pc:sldChg chg="modSp add replId">
        <pc:chgData name="Ana Isabel Silla Cortes" userId="S::asillaco@emeal.nttdata.com::b546b5c1-2aeb-468b-a361-4830835db4b0" providerId="AD" clId="Web-{EF8A7629-A0CF-4146-9038-57DDCB183411}" dt="2022-05-03T09:06:08.161" v="44" actId="20577"/>
        <pc:sldMkLst>
          <pc:docMk/>
          <pc:sldMk cId="1436506327" sldId="2477"/>
        </pc:sldMkLst>
        <pc:spChg chg="mod">
          <ac:chgData name="Ana Isabel Silla Cortes" userId="S::asillaco@emeal.nttdata.com::b546b5c1-2aeb-468b-a361-4830835db4b0" providerId="AD" clId="Web-{EF8A7629-A0CF-4146-9038-57DDCB183411}" dt="2022-05-03T09:06:08.161" v="44" actId="20577"/>
          <ac:spMkLst>
            <pc:docMk/>
            <pc:sldMk cId="1436506327" sldId="2477"/>
            <ac:spMk id="28" creationId="{DD453CE2-6FED-4720-8043-DBD1D2185AE1}"/>
          </ac:spMkLst>
        </pc:spChg>
      </pc:sldChg>
      <pc:sldChg chg="addSp delSp modSp new del">
        <pc:chgData name="Ana Isabel Silla Cortes" userId="S::asillaco@emeal.nttdata.com::b546b5c1-2aeb-468b-a361-4830835db4b0" providerId="AD" clId="Web-{EF8A7629-A0CF-4146-9038-57DDCB183411}" dt="2022-05-03T09:04:19.486" v="24"/>
        <pc:sldMkLst>
          <pc:docMk/>
          <pc:sldMk cId="249438709" sldId="2478"/>
        </pc:sldMkLst>
        <pc:spChg chg="del">
          <ac:chgData name="Ana Isabel Silla Cortes" userId="S::asillaco@emeal.nttdata.com::b546b5c1-2aeb-468b-a361-4830835db4b0" providerId="AD" clId="Web-{EF8A7629-A0CF-4146-9038-57DDCB183411}" dt="2022-05-03T09:03:40.204" v="20"/>
          <ac:spMkLst>
            <pc:docMk/>
            <pc:sldMk cId="249438709" sldId="2478"/>
            <ac:spMk id="3" creationId="{B1F5EA05-EB52-1DF3-1069-8BCB7D9BED5F}"/>
          </ac:spMkLst>
        </pc:spChg>
        <pc:picChg chg="add mod ord">
          <ac:chgData name="Ana Isabel Silla Cortes" userId="S::asillaco@emeal.nttdata.com::b546b5c1-2aeb-468b-a361-4830835db4b0" providerId="AD" clId="Web-{EF8A7629-A0CF-4146-9038-57DDCB183411}" dt="2022-05-03T09:03:40.204" v="20"/>
          <ac:picMkLst>
            <pc:docMk/>
            <pc:sldMk cId="249438709" sldId="2478"/>
            <ac:picMk id="5" creationId="{CB7A5B94-5121-905A-E4EF-221797913885}"/>
          </ac:picMkLst>
        </pc:picChg>
      </pc:sldChg>
    </pc:docChg>
  </pc:docChgLst>
  <pc:docChgLst>
    <pc:chgData name="David Pastor Puyuelo" userId="S::dpastopu@emeal.nttdata.com::4ba541ea-9651-41d4-862c-06544bb5ec7b" providerId="AD" clId="Web-{817AAA6B-ED37-4DC0-AB95-7028AF3A8268}"/>
    <pc:docChg chg="addSld delSld modSld modSection">
      <pc:chgData name="David Pastor Puyuelo" userId="S::dpastopu@emeal.nttdata.com::4ba541ea-9651-41d4-862c-06544bb5ec7b" providerId="AD" clId="Web-{817AAA6B-ED37-4DC0-AB95-7028AF3A8268}" dt="2022-05-03T16:20:24.853" v="345" actId="20577"/>
      <pc:docMkLst>
        <pc:docMk/>
      </pc:docMkLst>
      <pc:sldChg chg="modSp">
        <pc:chgData name="David Pastor Puyuelo" userId="S::dpastopu@emeal.nttdata.com::4ba541ea-9651-41d4-862c-06544bb5ec7b" providerId="AD" clId="Web-{817AAA6B-ED37-4DC0-AB95-7028AF3A8268}" dt="2022-05-03T16:14:37.330" v="33" actId="20577"/>
        <pc:sldMkLst>
          <pc:docMk/>
          <pc:sldMk cId="981156525" sldId="2418"/>
        </pc:sldMkLst>
        <pc:spChg chg="mod">
          <ac:chgData name="David Pastor Puyuelo" userId="S::dpastopu@emeal.nttdata.com::4ba541ea-9651-41d4-862c-06544bb5ec7b" providerId="AD" clId="Web-{817AAA6B-ED37-4DC0-AB95-7028AF3A8268}" dt="2022-05-03T16:14:37.330" v="33" actId="20577"/>
          <ac:spMkLst>
            <pc:docMk/>
            <pc:sldMk cId="981156525" sldId="2418"/>
            <ac:spMk id="28" creationId="{DD453CE2-6FED-4720-8043-DBD1D2185AE1}"/>
          </ac:spMkLst>
        </pc:spChg>
      </pc:sldChg>
      <pc:sldChg chg="new del">
        <pc:chgData name="David Pastor Puyuelo" userId="S::dpastopu@emeal.nttdata.com::4ba541ea-9651-41d4-862c-06544bb5ec7b" providerId="AD" clId="Web-{817AAA6B-ED37-4DC0-AB95-7028AF3A8268}" dt="2022-05-03T16:12:32.390" v="2"/>
        <pc:sldMkLst>
          <pc:docMk/>
          <pc:sldMk cId="2556911836" sldId="2484"/>
        </pc:sldMkLst>
      </pc:sldChg>
      <pc:sldChg chg="addSp delSp modSp add replId">
        <pc:chgData name="David Pastor Puyuelo" userId="S::dpastopu@emeal.nttdata.com::4ba541ea-9651-41d4-862c-06544bb5ec7b" providerId="AD" clId="Web-{817AAA6B-ED37-4DC0-AB95-7028AF3A8268}" dt="2022-05-03T16:20:24.853" v="345" actId="20577"/>
        <pc:sldMkLst>
          <pc:docMk/>
          <pc:sldMk cId="4081478343" sldId="2485"/>
        </pc:sldMkLst>
        <pc:spChg chg="add mod">
          <ac:chgData name="David Pastor Puyuelo" userId="S::dpastopu@emeal.nttdata.com::4ba541ea-9651-41d4-862c-06544bb5ec7b" providerId="AD" clId="Web-{817AAA6B-ED37-4DC0-AB95-7028AF3A8268}" dt="2022-05-03T16:14:11.501" v="29" actId="1076"/>
          <ac:spMkLst>
            <pc:docMk/>
            <pc:sldMk cId="4081478343" sldId="2485"/>
            <ac:spMk id="9" creationId="{57C9C3BC-91FB-AB14-03A2-4C5C283969A1}"/>
          </ac:spMkLst>
        </pc:spChg>
        <pc:spChg chg="add mod">
          <ac:chgData name="David Pastor Puyuelo" userId="S::dpastopu@emeal.nttdata.com::4ba541ea-9651-41d4-862c-06544bb5ec7b" providerId="AD" clId="Web-{817AAA6B-ED37-4DC0-AB95-7028AF3A8268}" dt="2022-05-03T16:14:13.579" v="30" actId="1076"/>
          <ac:spMkLst>
            <pc:docMk/>
            <pc:sldMk cId="4081478343" sldId="2485"/>
            <ac:spMk id="13" creationId="{C5E68934-E4A5-D9DB-A35F-7CD0BE47B0CE}"/>
          </ac:spMkLst>
        </pc:spChg>
        <pc:spChg chg="add mod">
          <ac:chgData name="David Pastor Puyuelo" userId="S::dpastopu@emeal.nttdata.com::4ba541ea-9651-41d4-862c-06544bb5ec7b" providerId="AD" clId="Web-{817AAA6B-ED37-4DC0-AB95-7028AF3A8268}" dt="2022-05-03T16:20:24.853" v="345" actId="20577"/>
          <ac:spMkLst>
            <pc:docMk/>
            <pc:sldMk cId="4081478343" sldId="2485"/>
            <ac:spMk id="14" creationId="{90E7633B-C081-8F97-DC35-8CEAF8939854}"/>
          </ac:spMkLst>
        </pc:spChg>
        <pc:spChg chg="mod">
          <ac:chgData name="David Pastor Puyuelo" userId="S::dpastopu@emeal.nttdata.com::4ba541ea-9651-41d4-862c-06544bb5ec7b" providerId="AD" clId="Web-{817AAA6B-ED37-4DC0-AB95-7028AF3A8268}" dt="2022-05-03T16:19:26.055" v="343" actId="20577"/>
          <ac:spMkLst>
            <pc:docMk/>
            <pc:sldMk cId="4081478343" sldId="2485"/>
            <ac:spMk id="28" creationId="{DD453CE2-6FED-4720-8043-DBD1D2185AE1}"/>
          </ac:spMkLst>
        </pc:spChg>
        <pc:picChg chg="add mod">
          <ac:chgData name="David Pastor Puyuelo" userId="S::dpastopu@emeal.nttdata.com::4ba541ea-9651-41d4-862c-06544bb5ec7b" providerId="AD" clId="Web-{817AAA6B-ED37-4DC0-AB95-7028AF3A8268}" dt="2022-05-03T16:14:15.361" v="31" actId="1076"/>
          <ac:picMkLst>
            <pc:docMk/>
            <pc:sldMk cId="4081478343" sldId="2485"/>
            <ac:picMk id="2" creationId="{2387F979-2819-2DCD-D5E1-1060857B8A60}"/>
          </ac:picMkLst>
        </pc:picChg>
        <pc:picChg chg="del">
          <ac:chgData name="David Pastor Puyuelo" userId="S::dpastopu@emeal.nttdata.com::4ba541ea-9651-41d4-862c-06544bb5ec7b" providerId="AD" clId="Web-{817AAA6B-ED37-4DC0-AB95-7028AF3A8268}" dt="2022-05-03T16:12:34.327" v="4"/>
          <ac:picMkLst>
            <pc:docMk/>
            <pc:sldMk cId="4081478343" sldId="2485"/>
            <ac:picMk id="4" creationId="{D96A65E6-2275-30E9-87F8-9EEF16E7EB76}"/>
          </ac:picMkLst>
        </pc:picChg>
        <pc:picChg chg="del">
          <ac:chgData name="David Pastor Puyuelo" userId="S::dpastopu@emeal.nttdata.com::4ba541ea-9651-41d4-862c-06544bb5ec7b" providerId="AD" clId="Web-{817AAA6B-ED37-4DC0-AB95-7028AF3A8268}" dt="2022-05-03T16:12:33.702" v="3"/>
          <ac:picMkLst>
            <pc:docMk/>
            <pc:sldMk cId="4081478343" sldId="2485"/>
            <ac:picMk id="6" creationId="{F0743334-4DD0-B4A8-CC16-ADB839E236C5}"/>
          </ac:picMkLst>
        </pc:picChg>
        <pc:picChg chg="add mod">
          <ac:chgData name="David Pastor Puyuelo" userId="S::dpastopu@emeal.nttdata.com::4ba541ea-9651-41d4-862c-06544bb5ec7b" providerId="AD" clId="Web-{817AAA6B-ED37-4DC0-AB95-7028AF3A8268}" dt="2022-05-03T16:14:16.501" v="32" actId="1076"/>
          <ac:picMkLst>
            <pc:docMk/>
            <pc:sldMk cId="4081478343" sldId="2485"/>
            <ac:picMk id="7" creationId="{BEB67186-ED1B-DFC1-819D-4526AA78F2C8}"/>
          </ac:picMkLst>
        </pc:picChg>
      </pc:sldChg>
    </pc:docChg>
  </pc:docChgLst>
  <pc:docChgLst>
    <pc:chgData name="David Pastor Puyuelo" userId="S::dpastopu@emeal.nttdata.com::4ba541ea-9651-41d4-862c-06544bb5ec7b" providerId="AD" clId="Web-{0B3175FC-9A6F-9BE2-89A4-885EACD322D2}"/>
    <pc:docChg chg="modSld">
      <pc:chgData name="David Pastor Puyuelo" userId="S::dpastopu@emeal.nttdata.com::4ba541ea-9651-41d4-862c-06544bb5ec7b" providerId="AD" clId="Web-{0B3175FC-9A6F-9BE2-89A4-885EACD322D2}" dt="2022-05-03T14:59:33.085" v="11" actId="1076"/>
      <pc:docMkLst>
        <pc:docMk/>
      </pc:docMkLst>
      <pc:sldChg chg="addSp delSp modSp">
        <pc:chgData name="David Pastor Puyuelo" userId="S::dpastopu@emeal.nttdata.com::4ba541ea-9651-41d4-862c-06544bb5ec7b" providerId="AD" clId="Web-{0B3175FC-9A6F-9BE2-89A4-885EACD322D2}" dt="2022-05-03T14:59:33.085" v="11" actId="1076"/>
        <pc:sldMkLst>
          <pc:docMk/>
          <pc:sldMk cId="2485783394" sldId="2430"/>
        </pc:sldMkLst>
        <pc:picChg chg="del">
          <ac:chgData name="David Pastor Puyuelo" userId="S::dpastopu@emeal.nttdata.com::4ba541ea-9651-41d4-862c-06544bb5ec7b" providerId="AD" clId="Web-{0B3175FC-9A6F-9BE2-89A4-885EACD322D2}" dt="2022-05-03T14:58:47.427" v="0"/>
          <ac:picMkLst>
            <pc:docMk/>
            <pc:sldMk cId="2485783394" sldId="2430"/>
            <ac:picMk id="2" creationId="{27BA2D3C-6FB2-8B9D-90F5-762316FEA31E}"/>
          </ac:picMkLst>
        </pc:picChg>
        <pc:picChg chg="add mod">
          <ac:chgData name="David Pastor Puyuelo" userId="S::dpastopu@emeal.nttdata.com::4ba541ea-9651-41d4-862c-06544bb5ec7b" providerId="AD" clId="Web-{0B3175FC-9A6F-9BE2-89A4-885EACD322D2}" dt="2022-05-03T14:59:33.085" v="11" actId="1076"/>
          <ac:picMkLst>
            <pc:docMk/>
            <pc:sldMk cId="2485783394" sldId="2430"/>
            <ac:picMk id="4" creationId="{D96A65E6-2275-30E9-87F8-9EEF16E7EB76}"/>
          </ac:picMkLst>
        </pc:picChg>
        <pc:picChg chg="mod">
          <ac:chgData name="David Pastor Puyuelo" userId="S::dpastopu@emeal.nttdata.com::4ba541ea-9651-41d4-862c-06544bb5ec7b" providerId="AD" clId="Web-{0B3175FC-9A6F-9BE2-89A4-885EACD322D2}" dt="2022-05-03T14:59:31.694" v="10" actId="1076"/>
          <ac:picMkLst>
            <pc:docMk/>
            <pc:sldMk cId="2485783394" sldId="2430"/>
            <ac:picMk id="6" creationId="{F0743334-4DD0-B4A8-CC16-ADB839E236C5}"/>
          </ac:picMkLst>
        </pc:picChg>
      </pc:sldChg>
    </pc:docChg>
  </pc:docChgLst>
  <pc:docChgLst>
    <pc:chgData name="Javier Vivas Carlos" userId="S::jvivasca@emeal.nttdata.com::b7e8403b-d7e5-4f09-8c6d-23e90274941f" providerId="AD" clId="Web-{D679998E-B361-2D9A-0420-B54EFFA3F20F}"/>
    <pc:docChg chg="modSld">
      <pc:chgData name="Javier Vivas Carlos" userId="S::jvivasca@emeal.nttdata.com::b7e8403b-d7e5-4f09-8c6d-23e90274941f" providerId="AD" clId="Web-{D679998E-B361-2D9A-0420-B54EFFA3F20F}" dt="2022-01-27T17:41:22.223" v="71" actId="14100"/>
      <pc:docMkLst>
        <pc:docMk/>
      </pc:docMkLst>
      <pc:sldChg chg="modSp">
        <pc:chgData name="Javier Vivas Carlos" userId="S::jvivasca@emeal.nttdata.com::b7e8403b-d7e5-4f09-8c6d-23e90274941f" providerId="AD" clId="Web-{D679998E-B361-2D9A-0420-B54EFFA3F20F}" dt="2022-01-27T17:37:09.728" v="0" actId="20577"/>
        <pc:sldMkLst>
          <pc:docMk/>
          <pc:sldMk cId="1592699464" sldId="1483"/>
        </pc:sldMkLst>
        <pc:spChg chg="mod">
          <ac:chgData name="Javier Vivas Carlos" userId="S::jvivasca@emeal.nttdata.com::b7e8403b-d7e5-4f09-8c6d-23e90274941f" providerId="AD" clId="Web-{D679998E-B361-2D9A-0420-B54EFFA3F20F}" dt="2022-01-27T17:37:09.728" v="0" actId="20577"/>
          <ac:spMkLst>
            <pc:docMk/>
            <pc:sldMk cId="1592699464" sldId="1483"/>
            <ac:spMk id="68" creationId="{B1D65679-B791-3D48-8B47-62CECF7CB297}"/>
          </ac:spMkLst>
        </pc:spChg>
      </pc:sldChg>
      <pc:sldChg chg="modSp">
        <pc:chgData name="Javier Vivas Carlos" userId="S::jvivasca@emeal.nttdata.com::b7e8403b-d7e5-4f09-8c6d-23e90274941f" providerId="AD" clId="Web-{D679998E-B361-2D9A-0420-B54EFFA3F20F}" dt="2022-01-27T17:41:22.223" v="71" actId="14100"/>
        <pc:sldMkLst>
          <pc:docMk/>
          <pc:sldMk cId="3851422961" sldId="2413"/>
        </pc:sldMkLst>
        <pc:spChg chg="mod">
          <ac:chgData name="Javier Vivas Carlos" userId="S::jvivasca@emeal.nttdata.com::b7e8403b-d7e5-4f09-8c6d-23e90274941f" providerId="AD" clId="Web-{D679998E-B361-2D9A-0420-B54EFFA3F20F}" dt="2022-01-27T17:39:53.562" v="60" actId="1076"/>
          <ac:spMkLst>
            <pc:docMk/>
            <pc:sldMk cId="3851422961" sldId="2413"/>
            <ac:spMk id="5" creationId="{6E02DC42-CD9D-4A60-9F1E-523C74FECC0B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609" v="62" actId="1076"/>
          <ac:spMkLst>
            <pc:docMk/>
            <pc:sldMk cId="3851422961" sldId="2413"/>
            <ac:spMk id="6" creationId="{00000000-0000-0000-0000-000000000000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672" v="64" actId="1076"/>
          <ac:spMkLst>
            <pc:docMk/>
            <pc:sldMk cId="3851422961" sldId="2413"/>
            <ac:spMk id="9" creationId="{00000000-0000-0000-0000-000000000000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594" v="61" actId="1076"/>
          <ac:spMkLst>
            <pc:docMk/>
            <pc:sldMk cId="3851422961" sldId="2413"/>
            <ac:spMk id="42" creationId="{16EC552A-E2B8-46B2-9518-07503D55BCE4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640" v="63" actId="1076"/>
          <ac:spMkLst>
            <pc:docMk/>
            <pc:sldMk cId="3851422961" sldId="2413"/>
            <ac:spMk id="47" creationId="{00000000-0000-0000-0000-000000000000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2.906" v="37" actId="1076"/>
          <ac:spMkLst>
            <pc:docMk/>
            <pc:sldMk cId="3851422961" sldId="2413"/>
            <ac:spMk id="110" creationId="{C353A698-0B00-4075-AF36-A85241E4486C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2.937" v="38" actId="1076"/>
          <ac:spMkLst>
            <pc:docMk/>
            <pc:sldMk cId="3851422961" sldId="2413"/>
            <ac:spMk id="113" creationId="{30FC4715-37C7-43D2-9A66-CFD42AC7B356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2.969" v="39" actId="1076"/>
          <ac:spMkLst>
            <pc:docMk/>
            <pc:sldMk cId="3851422961" sldId="2413"/>
            <ac:spMk id="205" creationId="{DB0B65B6-46AE-4D8E-A98F-339284EFB99E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" v="40" actId="1076"/>
          <ac:spMkLst>
            <pc:docMk/>
            <pc:sldMk cId="3851422961" sldId="2413"/>
            <ac:spMk id="206" creationId="{F9303F19-BC3D-4412-8660-DE13CFAC6A26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015" v="41" actId="1076"/>
          <ac:spMkLst>
            <pc:docMk/>
            <pc:sldMk cId="3851422961" sldId="2413"/>
            <ac:spMk id="207" creationId="{8311ACED-FD5A-46CD-87E6-FCDAA749A6D2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047" v="42" actId="1076"/>
          <ac:spMkLst>
            <pc:docMk/>
            <pc:sldMk cId="3851422961" sldId="2413"/>
            <ac:spMk id="208" creationId="{8FB6575B-9C1D-468D-8646-006A699ADF20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078" v="43" actId="1076"/>
          <ac:spMkLst>
            <pc:docMk/>
            <pc:sldMk cId="3851422961" sldId="2413"/>
            <ac:spMk id="209" creationId="{D862EFCE-6DEF-4DDB-9C07-5862B1E70314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109" v="44" actId="1076"/>
          <ac:spMkLst>
            <pc:docMk/>
            <pc:sldMk cId="3851422961" sldId="2413"/>
            <ac:spMk id="212" creationId="{33592388-E5F0-48FB-8326-E0AEE2A16F64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140" v="45" actId="1076"/>
          <ac:spMkLst>
            <pc:docMk/>
            <pc:sldMk cId="3851422961" sldId="2413"/>
            <ac:spMk id="213" creationId="{046525AE-0603-43C1-808B-BDD9A0FC2E73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172" v="46" actId="1076"/>
          <ac:spMkLst>
            <pc:docMk/>
            <pc:sldMk cId="3851422961" sldId="2413"/>
            <ac:spMk id="214" creationId="{FBC34CE0-4028-4D32-AAFD-EABF161C3A98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203" v="47" actId="1076"/>
          <ac:spMkLst>
            <pc:docMk/>
            <pc:sldMk cId="3851422961" sldId="2413"/>
            <ac:spMk id="215" creationId="{93F2B1E5-FB8C-4083-9B34-FB38522CB346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219" v="48" actId="1076"/>
          <ac:spMkLst>
            <pc:docMk/>
            <pc:sldMk cId="3851422961" sldId="2413"/>
            <ac:spMk id="216" creationId="{34BE8CA6-A5F3-4AE0-9C20-977D005A8BBE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40:53.643" v="67" actId="14100"/>
          <ac:spMkLst>
            <pc:docMk/>
            <pc:sldMk cId="3851422961" sldId="2413"/>
            <ac:spMk id="218" creationId="{25921979-879A-47D6-8F6A-0F85717AA8EF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41:22.223" v="71" actId="14100"/>
          <ac:spMkLst>
            <pc:docMk/>
            <pc:sldMk cId="3851422961" sldId="2413"/>
            <ac:spMk id="219" creationId="{E2C6F281-C74E-4E96-98C4-70530B8FCDA9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312" v="51" actId="1076"/>
          <ac:spMkLst>
            <pc:docMk/>
            <pc:sldMk cId="3851422961" sldId="2413"/>
            <ac:spMk id="220" creationId="{09C82FF2-E3E0-4728-800E-61CF3A973AF4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328" v="52" actId="1076"/>
          <ac:spMkLst>
            <pc:docMk/>
            <pc:sldMk cId="3851422961" sldId="2413"/>
            <ac:spMk id="221" creationId="{AE01F3C6-6CF5-4E9E-822A-96456C195C5B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359" v="53" actId="1076"/>
          <ac:spMkLst>
            <pc:docMk/>
            <pc:sldMk cId="3851422961" sldId="2413"/>
            <ac:spMk id="222" creationId="{90611FA6-DCAD-464C-BA28-9577972E97D3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390" v="54" actId="1076"/>
          <ac:spMkLst>
            <pc:docMk/>
            <pc:sldMk cId="3851422961" sldId="2413"/>
            <ac:spMk id="223" creationId="{CAF92401-BAFF-49D0-9485-D9B983C71C86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422" v="55" actId="1076"/>
          <ac:spMkLst>
            <pc:docMk/>
            <pc:sldMk cId="3851422961" sldId="2413"/>
            <ac:spMk id="224" creationId="{16EC552A-E2B8-46B2-9518-07503D55BCE4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453" v="56" actId="1076"/>
          <ac:spMkLst>
            <pc:docMk/>
            <pc:sldMk cId="3851422961" sldId="2413"/>
            <ac:spMk id="225" creationId="{D9F192D4-B0A4-488D-85A1-4541DC49A1F8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469" v="57" actId="1076"/>
          <ac:spMkLst>
            <pc:docMk/>
            <pc:sldMk cId="3851422961" sldId="2413"/>
            <ac:spMk id="226" creationId="{42CD4757-36B8-402E-8FCE-C67415361E1D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500" v="58" actId="1076"/>
          <ac:spMkLst>
            <pc:docMk/>
            <pc:sldMk cId="3851422961" sldId="2413"/>
            <ac:spMk id="227" creationId="{818E5E6E-9FC6-4343-B8EC-15C93DA607E2}"/>
          </ac:spMkLst>
        </pc:spChg>
        <pc:spChg chg="mod">
          <ac:chgData name="Javier Vivas Carlos" userId="S::jvivasca@emeal.nttdata.com::b7e8403b-d7e5-4f09-8c6d-23e90274941f" providerId="AD" clId="Web-{D679998E-B361-2D9A-0420-B54EFFA3F20F}" dt="2022-01-27T17:39:53.531" v="59" actId="1076"/>
          <ac:spMkLst>
            <pc:docMk/>
            <pc:sldMk cId="3851422961" sldId="2413"/>
            <ac:spMk id="228" creationId="{DC3FBD50-9566-48C6-8390-FAC6CE1268F0}"/>
          </ac:spMkLst>
        </pc:spChg>
        <pc:graphicFrameChg chg="mod modGraphic">
          <ac:chgData name="Javier Vivas Carlos" userId="S::jvivasca@emeal.nttdata.com::b7e8403b-d7e5-4f09-8c6d-23e90274941f" providerId="AD" clId="Web-{D679998E-B361-2D9A-0420-B54EFFA3F20F}" dt="2022-01-27T17:39:33.124" v="36"/>
          <ac:graphicFrameMkLst>
            <pc:docMk/>
            <pc:sldMk cId="3851422961" sldId="2413"/>
            <ac:graphicFrameMk id="107" creationId="{F78F76C4-9D23-4164-BB74-C6E11B78286C}"/>
          </ac:graphicFrameMkLst>
        </pc:graphicFrameChg>
      </pc:sldChg>
    </pc:docChg>
  </pc:docChgLst>
  <pc:docChgLst>
    <pc:chgData name="David Pastor Puyuelo" userId="4ba541ea-9651-41d4-862c-06544bb5ec7b" providerId="ADAL" clId="{FEA0C040-3B5B-4ED6-94F9-D68EEB265B8E}"/>
    <pc:docChg chg="undo custSel addSld delSld modSld modMainMaster modSection">
      <pc:chgData name="David Pastor Puyuelo" userId="4ba541ea-9651-41d4-862c-06544bb5ec7b" providerId="ADAL" clId="{FEA0C040-3B5B-4ED6-94F9-D68EEB265B8E}" dt="2022-12-21T15:18:58.082" v="551" actId="47"/>
      <pc:docMkLst>
        <pc:docMk/>
      </pc:docMkLst>
      <pc:sldChg chg="addSp delSp modSp mod modClrScheme chgLayout">
        <pc:chgData name="David Pastor Puyuelo" userId="4ba541ea-9651-41d4-862c-06544bb5ec7b" providerId="ADAL" clId="{FEA0C040-3B5B-4ED6-94F9-D68EEB265B8E}" dt="2022-12-21T14:53:05.029" v="62" actId="700"/>
        <pc:sldMkLst>
          <pc:docMk/>
          <pc:sldMk cId="1592699464" sldId="1483"/>
        </pc:sldMkLst>
        <pc:spChg chg="add del mod ord">
          <ac:chgData name="David Pastor Puyuelo" userId="4ba541ea-9651-41d4-862c-06544bb5ec7b" providerId="ADAL" clId="{FEA0C040-3B5B-4ED6-94F9-D68EEB265B8E}" dt="2022-12-21T14:52:37.634" v="60" actId="700"/>
          <ac:spMkLst>
            <pc:docMk/>
            <pc:sldMk cId="1592699464" sldId="1483"/>
            <ac:spMk id="6" creationId="{DBC5E76A-9443-5934-DEC8-F91D1AD78DF7}"/>
          </ac:spMkLst>
        </pc:spChg>
        <pc:spChg chg="mod">
          <ac:chgData name="David Pastor Puyuelo" userId="4ba541ea-9651-41d4-862c-06544bb5ec7b" providerId="ADAL" clId="{FEA0C040-3B5B-4ED6-94F9-D68EEB265B8E}" dt="2022-12-21T14:46:12.113" v="46" actId="14100"/>
          <ac:spMkLst>
            <pc:docMk/>
            <pc:sldMk cId="1592699464" sldId="1483"/>
            <ac:spMk id="7" creationId="{783A216A-6F12-B440-B7ED-6D6394B9FB24}"/>
          </ac:spMkLst>
        </pc:spChg>
        <pc:spChg chg="add del mod ord">
          <ac:chgData name="David Pastor Puyuelo" userId="4ba541ea-9651-41d4-862c-06544bb5ec7b" providerId="ADAL" clId="{FEA0C040-3B5B-4ED6-94F9-D68EEB265B8E}" dt="2022-12-21T14:52:37.634" v="60" actId="700"/>
          <ac:spMkLst>
            <pc:docMk/>
            <pc:sldMk cId="1592699464" sldId="1483"/>
            <ac:spMk id="8" creationId="{86EE5933-C3F1-3CD6-F5AB-AFF6D3285F66}"/>
          </ac:spMkLst>
        </pc:spChg>
        <pc:spChg chg="mod ord">
          <ac:chgData name="David Pastor Puyuelo" userId="4ba541ea-9651-41d4-862c-06544bb5ec7b" providerId="ADAL" clId="{FEA0C040-3B5B-4ED6-94F9-D68EEB265B8E}" dt="2022-12-21T14:53:05.029" v="62" actId="700"/>
          <ac:spMkLst>
            <pc:docMk/>
            <pc:sldMk cId="1592699464" sldId="1483"/>
            <ac:spMk id="9" creationId="{00000000-0000-0000-0000-000000000000}"/>
          </ac:spMkLst>
        </pc:spChg>
        <pc:spChg chg="add del mod ord">
          <ac:chgData name="David Pastor Puyuelo" userId="4ba541ea-9651-41d4-862c-06544bb5ec7b" providerId="ADAL" clId="{FEA0C040-3B5B-4ED6-94F9-D68EEB265B8E}" dt="2022-12-21T14:53:05.029" v="62" actId="700"/>
          <ac:spMkLst>
            <pc:docMk/>
            <pc:sldMk cId="1592699464" sldId="1483"/>
            <ac:spMk id="10" creationId="{2A900DFC-B6E8-CF0E-86F5-182823A3F682}"/>
          </ac:spMkLst>
        </pc:spChg>
        <pc:spChg chg="mod">
          <ac:chgData name="David Pastor Puyuelo" userId="4ba541ea-9651-41d4-862c-06544bb5ec7b" providerId="ADAL" clId="{FEA0C040-3B5B-4ED6-94F9-D68EEB265B8E}" dt="2022-12-21T14:46:16.134" v="48" actId="14100"/>
          <ac:spMkLst>
            <pc:docMk/>
            <pc:sldMk cId="1592699464" sldId="1483"/>
            <ac:spMk id="67" creationId="{F77401DE-B532-9E4B-8E43-9E44546E7A61}"/>
          </ac:spMkLst>
        </pc:spChg>
        <pc:spChg chg="del">
          <ac:chgData name="David Pastor Puyuelo" userId="4ba541ea-9651-41d4-862c-06544bb5ec7b" providerId="ADAL" clId="{FEA0C040-3B5B-4ED6-94F9-D68EEB265B8E}" dt="2022-12-21T14:49:59.092" v="49" actId="478"/>
          <ac:spMkLst>
            <pc:docMk/>
            <pc:sldMk cId="1592699464" sldId="1483"/>
            <ac:spMk id="68" creationId="{B1D65679-B791-3D48-8B47-62CECF7CB297}"/>
          </ac:spMkLst>
        </pc:spChg>
        <pc:picChg chg="add del mod">
          <ac:chgData name="David Pastor Puyuelo" userId="4ba541ea-9651-41d4-862c-06544bb5ec7b" providerId="ADAL" clId="{FEA0C040-3B5B-4ED6-94F9-D68EEB265B8E}" dt="2022-12-21T14:50:45.982" v="53" actId="478"/>
          <ac:picMkLst>
            <pc:docMk/>
            <pc:sldMk cId="1592699464" sldId="1483"/>
            <ac:picMk id="3" creationId="{48D1C444-9EB3-9B90-8B2B-0FEB1C11C13A}"/>
          </ac:picMkLst>
        </pc:picChg>
        <pc:picChg chg="add mod">
          <ac:chgData name="David Pastor Puyuelo" userId="4ba541ea-9651-41d4-862c-06544bb5ec7b" providerId="ADAL" clId="{FEA0C040-3B5B-4ED6-94F9-D68EEB265B8E}" dt="2022-12-21T14:50:59.854" v="58" actId="27614"/>
          <ac:picMkLst>
            <pc:docMk/>
            <pc:sldMk cId="1592699464" sldId="1483"/>
            <ac:picMk id="5" creationId="{2ACCF5AE-9624-F230-A9F4-6BD281674A6E}"/>
          </ac:picMkLst>
        </pc:picChg>
        <pc:picChg chg="del">
          <ac:chgData name="David Pastor Puyuelo" userId="4ba541ea-9651-41d4-862c-06544bb5ec7b" providerId="ADAL" clId="{FEA0C040-3B5B-4ED6-94F9-D68EEB265B8E}" dt="2022-12-21T14:50:51.965" v="54" actId="478"/>
          <ac:picMkLst>
            <pc:docMk/>
            <pc:sldMk cId="1592699464" sldId="1483"/>
            <ac:picMk id="73" creationId="{490AD69F-9029-1243-9D54-FC4606EDF173}"/>
          </ac:picMkLst>
        </pc:picChg>
        <pc:picChg chg="del">
          <ac:chgData name="David Pastor Puyuelo" userId="4ba541ea-9651-41d4-862c-06544bb5ec7b" providerId="ADAL" clId="{FEA0C040-3B5B-4ED6-94F9-D68EEB265B8E}" dt="2022-12-21T14:50:52.550" v="55" actId="478"/>
          <ac:picMkLst>
            <pc:docMk/>
            <pc:sldMk cId="1592699464" sldId="1483"/>
            <ac:picMk id="71684" creationId="{ED429E18-D055-4C48-BBE0-9D4D4B9F0B35}"/>
          </ac:picMkLst>
        </pc:picChg>
      </pc:sldChg>
      <pc:sldChg chg="addSp delSp modSp add del mod">
        <pc:chgData name="David Pastor Puyuelo" userId="4ba541ea-9651-41d4-862c-06544bb5ec7b" providerId="ADAL" clId="{FEA0C040-3B5B-4ED6-94F9-D68EEB265B8E}" dt="2022-12-21T14:58:08.070" v="156" actId="962"/>
        <pc:sldMkLst>
          <pc:docMk/>
          <pc:sldMk cId="3729408901" sldId="1522"/>
        </pc:sldMkLst>
        <pc:picChg chg="add mod">
          <ac:chgData name="David Pastor Puyuelo" userId="4ba541ea-9651-41d4-862c-06544bb5ec7b" providerId="ADAL" clId="{FEA0C040-3B5B-4ED6-94F9-D68EEB265B8E}" dt="2022-12-21T14:58:08.070" v="155" actId="27614"/>
          <ac:picMkLst>
            <pc:docMk/>
            <pc:sldMk cId="3729408901" sldId="1522"/>
            <ac:picMk id="3" creationId="{DD47ACDC-42B4-A0A4-59E9-1DEB6693EDB5}"/>
          </ac:picMkLst>
        </pc:picChg>
        <pc:picChg chg="del">
          <ac:chgData name="David Pastor Puyuelo" userId="4ba541ea-9651-41d4-862c-06544bb5ec7b" providerId="ADAL" clId="{FEA0C040-3B5B-4ED6-94F9-D68EEB265B8E}" dt="2022-12-21T14:58:00.622" v="151" actId="478"/>
          <ac:picMkLst>
            <pc:docMk/>
            <pc:sldMk cId="3729408901" sldId="1522"/>
            <ac:picMk id="37" creationId="{8C1D6138-1957-49D1-A3C6-4891889F7563}"/>
          </ac:picMkLst>
        </pc:picChg>
        <pc:picChg chg="del">
          <ac:chgData name="David Pastor Puyuelo" userId="4ba541ea-9651-41d4-862c-06544bb5ec7b" providerId="ADAL" clId="{FEA0C040-3B5B-4ED6-94F9-D68EEB265B8E}" dt="2022-12-21T14:58:01.592" v="152" actId="478"/>
          <ac:picMkLst>
            <pc:docMk/>
            <pc:sldMk cId="3729408901" sldId="1522"/>
            <ac:picMk id="65" creationId="{5A90B17B-4B49-45A1-B7A2-1E9161628C03}"/>
          </ac:picMkLst>
        </pc:picChg>
        <pc:picChg chg="mod">
          <ac:chgData name="David Pastor Puyuelo" userId="4ba541ea-9651-41d4-862c-06544bb5ec7b" providerId="ADAL" clId="{FEA0C040-3B5B-4ED6-94F9-D68EEB265B8E}" dt="2022-12-21T14:58:08.070" v="156" actId="962"/>
          <ac:picMkLst>
            <pc:docMk/>
            <pc:sldMk cId="3729408901" sldId="1522"/>
            <ac:picMk id="67" creationId="{CE5A209B-3B75-4388-8839-3DDB58BF6D21}"/>
          </ac:picMkLst>
        </pc:picChg>
        <pc:picChg chg="del">
          <ac:chgData name="David Pastor Puyuelo" userId="4ba541ea-9651-41d4-862c-06544bb5ec7b" providerId="ADAL" clId="{FEA0C040-3B5B-4ED6-94F9-D68EEB265B8E}" dt="2022-12-21T14:57:59.905" v="150" actId="478"/>
          <ac:picMkLst>
            <pc:docMk/>
            <pc:sldMk cId="3729408901" sldId="1522"/>
            <ac:picMk id="72" creationId="{490AD69F-9029-1243-9D54-FC4606EDF173}"/>
          </ac:picMkLst>
        </pc:picChg>
      </pc:sldChg>
      <pc:sldChg chg="del">
        <pc:chgData name="David Pastor Puyuelo" userId="4ba541ea-9651-41d4-862c-06544bb5ec7b" providerId="ADAL" clId="{FEA0C040-3B5B-4ED6-94F9-D68EEB265B8E}" dt="2022-12-21T14:57:53.154" v="143" actId="47"/>
        <pc:sldMkLst>
          <pc:docMk/>
          <pc:sldMk cId="1038101899" sldId="2428"/>
        </pc:sldMkLst>
      </pc:sldChg>
      <pc:sldChg chg="del">
        <pc:chgData name="David Pastor Puyuelo" userId="4ba541ea-9651-41d4-862c-06544bb5ec7b" providerId="ADAL" clId="{FEA0C040-3B5B-4ED6-94F9-D68EEB265B8E}" dt="2022-12-21T14:57:45.964" v="103" actId="47"/>
        <pc:sldMkLst>
          <pc:docMk/>
          <pc:sldMk cId="4139537483" sldId="2489"/>
        </pc:sldMkLst>
      </pc:sldChg>
      <pc:sldChg chg="del">
        <pc:chgData name="David Pastor Puyuelo" userId="4ba541ea-9651-41d4-862c-06544bb5ec7b" providerId="ADAL" clId="{FEA0C040-3B5B-4ED6-94F9-D68EEB265B8E}" dt="2022-12-21T14:57:46.156" v="104" actId="47"/>
        <pc:sldMkLst>
          <pc:docMk/>
          <pc:sldMk cId="3953033615" sldId="2490"/>
        </pc:sldMkLst>
      </pc:sldChg>
      <pc:sldChg chg="del">
        <pc:chgData name="David Pastor Puyuelo" userId="4ba541ea-9651-41d4-862c-06544bb5ec7b" providerId="ADAL" clId="{FEA0C040-3B5B-4ED6-94F9-D68EEB265B8E}" dt="2022-12-21T14:57:46.280" v="105" actId="47"/>
        <pc:sldMkLst>
          <pc:docMk/>
          <pc:sldMk cId="2809497421" sldId="2491"/>
        </pc:sldMkLst>
      </pc:sldChg>
      <pc:sldChg chg="del">
        <pc:chgData name="David Pastor Puyuelo" userId="4ba541ea-9651-41d4-862c-06544bb5ec7b" providerId="ADAL" clId="{FEA0C040-3B5B-4ED6-94F9-D68EEB265B8E}" dt="2022-12-21T14:57:46.480" v="106" actId="47"/>
        <pc:sldMkLst>
          <pc:docMk/>
          <pc:sldMk cId="2370424488" sldId="2492"/>
        </pc:sldMkLst>
      </pc:sldChg>
      <pc:sldChg chg="del">
        <pc:chgData name="David Pastor Puyuelo" userId="4ba541ea-9651-41d4-862c-06544bb5ec7b" providerId="ADAL" clId="{FEA0C040-3B5B-4ED6-94F9-D68EEB265B8E}" dt="2022-12-21T14:57:46.812" v="107" actId="47"/>
        <pc:sldMkLst>
          <pc:docMk/>
          <pc:sldMk cId="1283367438" sldId="2493"/>
        </pc:sldMkLst>
      </pc:sldChg>
      <pc:sldChg chg="del">
        <pc:chgData name="David Pastor Puyuelo" userId="4ba541ea-9651-41d4-862c-06544bb5ec7b" providerId="ADAL" clId="{FEA0C040-3B5B-4ED6-94F9-D68EEB265B8E}" dt="2022-12-21T14:57:47.027" v="108" actId="47"/>
        <pc:sldMkLst>
          <pc:docMk/>
          <pc:sldMk cId="3012629010" sldId="2494"/>
        </pc:sldMkLst>
      </pc:sldChg>
      <pc:sldChg chg="del">
        <pc:chgData name="David Pastor Puyuelo" userId="4ba541ea-9651-41d4-862c-06544bb5ec7b" providerId="ADAL" clId="{FEA0C040-3B5B-4ED6-94F9-D68EEB265B8E}" dt="2022-12-21T14:57:47.165" v="109" actId="47"/>
        <pc:sldMkLst>
          <pc:docMk/>
          <pc:sldMk cId="2545659543" sldId="2495"/>
        </pc:sldMkLst>
      </pc:sldChg>
      <pc:sldChg chg="del">
        <pc:chgData name="David Pastor Puyuelo" userId="4ba541ea-9651-41d4-862c-06544bb5ec7b" providerId="ADAL" clId="{FEA0C040-3B5B-4ED6-94F9-D68EEB265B8E}" dt="2022-12-21T14:57:47.328" v="110" actId="47"/>
        <pc:sldMkLst>
          <pc:docMk/>
          <pc:sldMk cId="247980208" sldId="2496"/>
        </pc:sldMkLst>
      </pc:sldChg>
      <pc:sldChg chg="del">
        <pc:chgData name="David Pastor Puyuelo" userId="4ba541ea-9651-41d4-862c-06544bb5ec7b" providerId="ADAL" clId="{FEA0C040-3B5B-4ED6-94F9-D68EEB265B8E}" dt="2022-12-21T14:57:47.533" v="111" actId="47"/>
        <pc:sldMkLst>
          <pc:docMk/>
          <pc:sldMk cId="2787279532" sldId="2497"/>
        </pc:sldMkLst>
      </pc:sldChg>
      <pc:sldChg chg="del">
        <pc:chgData name="David Pastor Puyuelo" userId="4ba541ea-9651-41d4-862c-06544bb5ec7b" providerId="ADAL" clId="{FEA0C040-3B5B-4ED6-94F9-D68EEB265B8E}" dt="2022-12-21T14:57:47.897" v="113" actId="47"/>
        <pc:sldMkLst>
          <pc:docMk/>
          <pc:sldMk cId="2569158878" sldId="2499"/>
        </pc:sldMkLst>
      </pc:sldChg>
      <pc:sldChg chg="modSp mod">
        <pc:chgData name="David Pastor Puyuelo" userId="4ba541ea-9651-41d4-862c-06544bb5ec7b" providerId="ADAL" clId="{FEA0C040-3B5B-4ED6-94F9-D68EEB265B8E}" dt="2022-12-21T15:16:50.700" v="521" actId="20577"/>
        <pc:sldMkLst>
          <pc:docMk/>
          <pc:sldMk cId="2988527565" sldId="2500"/>
        </pc:sldMkLst>
        <pc:spChg chg="mod">
          <ac:chgData name="David Pastor Puyuelo" userId="4ba541ea-9651-41d4-862c-06544bb5ec7b" providerId="ADAL" clId="{FEA0C040-3B5B-4ED6-94F9-D68EEB265B8E}" dt="2022-12-21T15:16:50.700" v="521" actId="20577"/>
          <ac:spMkLst>
            <pc:docMk/>
            <pc:sldMk cId="2988527565" sldId="2500"/>
            <ac:spMk id="20" creationId="{EE2EB87E-F264-4765-9C66-FE84E21A3B66}"/>
          </ac:spMkLst>
        </pc:spChg>
      </pc:sldChg>
      <pc:sldChg chg="del">
        <pc:chgData name="David Pastor Puyuelo" userId="4ba541ea-9651-41d4-862c-06544bb5ec7b" providerId="ADAL" clId="{FEA0C040-3B5B-4ED6-94F9-D68EEB265B8E}" dt="2022-12-21T14:59:36.088" v="246" actId="47"/>
        <pc:sldMkLst>
          <pc:docMk/>
          <pc:sldMk cId="2972660538" sldId="2503"/>
        </pc:sldMkLst>
      </pc:sldChg>
      <pc:sldChg chg="del">
        <pc:chgData name="David Pastor Puyuelo" userId="4ba541ea-9651-41d4-862c-06544bb5ec7b" providerId="ADAL" clId="{FEA0C040-3B5B-4ED6-94F9-D68EEB265B8E}" dt="2022-12-21T14:57:48.830" v="114" actId="47"/>
        <pc:sldMkLst>
          <pc:docMk/>
          <pc:sldMk cId="3627097857" sldId="2505"/>
        </pc:sldMkLst>
      </pc:sldChg>
      <pc:sldChg chg="del">
        <pc:chgData name="David Pastor Puyuelo" userId="4ba541ea-9651-41d4-862c-06544bb5ec7b" providerId="ADAL" clId="{FEA0C040-3B5B-4ED6-94F9-D68EEB265B8E}" dt="2022-12-21T14:57:49.068" v="115" actId="47"/>
        <pc:sldMkLst>
          <pc:docMk/>
          <pc:sldMk cId="2839781927" sldId="2506"/>
        </pc:sldMkLst>
      </pc:sldChg>
      <pc:sldChg chg="del">
        <pc:chgData name="David Pastor Puyuelo" userId="4ba541ea-9651-41d4-862c-06544bb5ec7b" providerId="ADAL" clId="{FEA0C040-3B5B-4ED6-94F9-D68EEB265B8E}" dt="2022-12-21T14:57:49.269" v="116" actId="47"/>
        <pc:sldMkLst>
          <pc:docMk/>
          <pc:sldMk cId="1090922173" sldId="2507"/>
        </pc:sldMkLst>
      </pc:sldChg>
      <pc:sldChg chg="del">
        <pc:chgData name="David Pastor Puyuelo" userId="4ba541ea-9651-41d4-862c-06544bb5ec7b" providerId="ADAL" clId="{FEA0C040-3B5B-4ED6-94F9-D68EEB265B8E}" dt="2022-12-21T14:57:49.632" v="117" actId="47"/>
        <pc:sldMkLst>
          <pc:docMk/>
          <pc:sldMk cId="1469770041" sldId="2508"/>
        </pc:sldMkLst>
      </pc:sldChg>
      <pc:sldChg chg="del">
        <pc:chgData name="David Pastor Puyuelo" userId="4ba541ea-9651-41d4-862c-06544bb5ec7b" providerId="ADAL" clId="{FEA0C040-3B5B-4ED6-94F9-D68EEB265B8E}" dt="2022-12-21T14:57:49.932" v="118" actId="47"/>
        <pc:sldMkLst>
          <pc:docMk/>
          <pc:sldMk cId="3075701331" sldId="2509"/>
        </pc:sldMkLst>
      </pc:sldChg>
      <pc:sldChg chg="del">
        <pc:chgData name="David Pastor Puyuelo" userId="4ba541ea-9651-41d4-862c-06544bb5ec7b" providerId="ADAL" clId="{FEA0C040-3B5B-4ED6-94F9-D68EEB265B8E}" dt="2022-12-21T14:57:50.149" v="119" actId="47"/>
        <pc:sldMkLst>
          <pc:docMk/>
          <pc:sldMk cId="3372116214" sldId="2510"/>
        </pc:sldMkLst>
      </pc:sldChg>
      <pc:sldChg chg="del">
        <pc:chgData name="David Pastor Puyuelo" userId="4ba541ea-9651-41d4-862c-06544bb5ec7b" providerId="ADAL" clId="{FEA0C040-3B5B-4ED6-94F9-D68EEB265B8E}" dt="2022-12-21T14:57:51.752" v="121" actId="47"/>
        <pc:sldMkLst>
          <pc:docMk/>
          <pc:sldMk cId="1283086439" sldId="2512"/>
        </pc:sldMkLst>
      </pc:sldChg>
      <pc:sldChg chg="del">
        <pc:chgData name="David Pastor Puyuelo" userId="4ba541ea-9651-41d4-862c-06544bb5ec7b" providerId="ADAL" clId="{FEA0C040-3B5B-4ED6-94F9-D68EEB265B8E}" dt="2022-12-21T14:57:51.890" v="122" actId="47"/>
        <pc:sldMkLst>
          <pc:docMk/>
          <pc:sldMk cId="3859859448" sldId="2513"/>
        </pc:sldMkLst>
      </pc:sldChg>
      <pc:sldChg chg="del">
        <pc:chgData name="David Pastor Puyuelo" userId="4ba541ea-9651-41d4-862c-06544bb5ec7b" providerId="ADAL" clId="{FEA0C040-3B5B-4ED6-94F9-D68EEB265B8E}" dt="2022-12-21T14:57:52.391" v="123" actId="47"/>
        <pc:sldMkLst>
          <pc:docMk/>
          <pc:sldMk cId="1337223528" sldId="2514"/>
        </pc:sldMkLst>
      </pc:sldChg>
      <pc:sldChg chg="del">
        <pc:chgData name="David Pastor Puyuelo" userId="4ba541ea-9651-41d4-862c-06544bb5ec7b" providerId="ADAL" clId="{FEA0C040-3B5B-4ED6-94F9-D68EEB265B8E}" dt="2022-12-21T14:57:52.438" v="124" actId="47"/>
        <pc:sldMkLst>
          <pc:docMk/>
          <pc:sldMk cId="738276300" sldId="2515"/>
        </pc:sldMkLst>
      </pc:sldChg>
      <pc:sldChg chg="del">
        <pc:chgData name="David Pastor Puyuelo" userId="4ba541ea-9651-41d4-862c-06544bb5ec7b" providerId="ADAL" clId="{FEA0C040-3B5B-4ED6-94F9-D68EEB265B8E}" dt="2022-12-21T14:57:52.472" v="125" actId="47"/>
        <pc:sldMkLst>
          <pc:docMk/>
          <pc:sldMk cId="330912701" sldId="2516"/>
        </pc:sldMkLst>
      </pc:sldChg>
      <pc:sldChg chg="del">
        <pc:chgData name="David Pastor Puyuelo" userId="4ba541ea-9651-41d4-862c-06544bb5ec7b" providerId="ADAL" clId="{FEA0C040-3B5B-4ED6-94F9-D68EEB265B8E}" dt="2022-12-21T14:57:52.505" v="126" actId="47"/>
        <pc:sldMkLst>
          <pc:docMk/>
          <pc:sldMk cId="1666105793" sldId="2517"/>
        </pc:sldMkLst>
      </pc:sldChg>
      <pc:sldChg chg="del">
        <pc:chgData name="David Pastor Puyuelo" userId="4ba541ea-9651-41d4-862c-06544bb5ec7b" providerId="ADAL" clId="{FEA0C040-3B5B-4ED6-94F9-D68EEB265B8E}" dt="2022-12-21T14:57:52.522" v="127" actId="47"/>
        <pc:sldMkLst>
          <pc:docMk/>
          <pc:sldMk cId="971543686" sldId="2518"/>
        </pc:sldMkLst>
      </pc:sldChg>
      <pc:sldChg chg="del">
        <pc:chgData name="David Pastor Puyuelo" userId="4ba541ea-9651-41d4-862c-06544bb5ec7b" providerId="ADAL" clId="{FEA0C040-3B5B-4ED6-94F9-D68EEB265B8E}" dt="2022-12-21T14:57:52.568" v="128" actId="47"/>
        <pc:sldMkLst>
          <pc:docMk/>
          <pc:sldMk cId="1761138603" sldId="2519"/>
        </pc:sldMkLst>
      </pc:sldChg>
      <pc:sldChg chg="del">
        <pc:chgData name="David Pastor Puyuelo" userId="4ba541ea-9651-41d4-862c-06544bb5ec7b" providerId="ADAL" clId="{FEA0C040-3B5B-4ED6-94F9-D68EEB265B8E}" dt="2022-12-21T14:57:52.752" v="134" actId="47"/>
        <pc:sldMkLst>
          <pc:docMk/>
          <pc:sldMk cId="2873691108" sldId="2522"/>
        </pc:sldMkLst>
      </pc:sldChg>
      <pc:sldChg chg="del">
        <pc:chgData name="David Pastor Puyuelo" userId="4ba541ea-9651-41d4-862c-06544bb5ec7b" providerId="ADAL" clId="{FEA0C040-3B5B-4ED6-94F9-D68EEB265B8E}" dt="2022-12-21T14:57:52.820" v="135" actId="47"/>
        <pc:sldMkLst>
          <pc:docMk/>
          <pc:sldMk cId="2258484874" sldId="2523"/>
        </pc:sldMkLst>
      </pc:sldChg>
      <pc:sldChg chg="del">
        <pc:chgData name="David Pastor Puyuelo" userId="4ba541ea-9651-41d4-862c-06544bb5ec7b" providerId="ADAL" clId="{FEA0C040-3B5B-4ED6-94F9-D68EEB265B8E}" dt="2022-12-21T14:57:52.876" v="136" actId="47"/>
        <pc:sldMkLst>
          <pc:docMk/>
          <pc:sldMk cId="4234543220" sldId="2524"/>
        </pc:sldMkLst>
      </pc:sldChg>
      <pc:sldChg chg="del">
        <pc:chgData name="David Pastor Puyuelo" userId="4ba541ea-9651-41d4-862c-06544bb5ec7b" providerId="ADAL" clId="{FEA0C040-3B5B-4ED6-94F9-D68EEB265B8E}" dt="2022-12-21T14:57:53.052" v="140" actId="47"/>
        <pc:sldMkLst>
          <pc:docMk/>
          <pc:sldMk cId="412411811" sldId="2529"/>
        </pc:sldMkLst>
      </pc:sldChg>
      <pc:sldChg chg="del">
        <pc:chgData name="David Pastor Puyuelo" userId="4ba541ea-9651-41d4-862c-06544bb5ec7b" providerId="ADAL" clId="{FEA0C040-3B5B-4ED6-94F9-D68EEB265B8E}" dt="2022-12-21T14:57:53.076" v="141" actId="47"/>
        <pc:sldMkLst>
          <pc:docMk/>
          <pc:sldMk cId="2760195676" sldId="2530"/>
        </pc:sldMkLst>
      </pc:sldChg>
      <pc:sldChg chg="del">
        <pc:chgData name="David Pastor Puyuelo" userId="4ba541ea-9651-41d4-862c-06544bb5ec7b" providerId="ADAL" clId="{FEA0C040-3B5B-4ED6-94F9-D68EEB265B8E}" dt="2022-12-21T14:57:53.215" v="145" actId="47"/>
        <pc:sldMkLst>
          <pc:docMk/>
          <pc:sldMk cId="650905053" sldId="2531"/>
        </pc:sldMkLst>
      </pc:sldChg>
      <pc:sldChg chg="del">
        <pc:chgData name="David Pastor Puyuelo" userId="4ba541ea-9651-41d4-862c-06544bb5ec7b" providerId="ADAL" clId="{FEA0C040-3B5B-4ED6-94F9-D68EEB265B8E}" dt="2022-12-21T14:57:52.954" v="138" actId="47"/>
        <pc:sldMkLst>
          <pc:docMk/>
          <pc:sldMk cId="3366043003" sldId="2532"/>
        </pc:sldMkLst>
      </pc:sldChg>
      <pc:sldChg chg="addSp delSp modSp mod">
        <pc:chgData name="David Pastor Puyuelo" userId="4ba541ea-9651-41d4-862c-06544bb5ec7b" providerId="ADAL" clId="{FEA0C040-3B5B-4ED6-94F9-D68EEB265B8E}" dt="2022-12-21T15:04:10.858" v="336" actId="108"/>
        <pc:sldMkLst>
          <pc:docMk/>
          <pc:sldMk cId="2703659770" sldId="2533"/>
        </pc:sldMkLst>
        <pc:spChg chg="add mod">
          <ac:chgData name="David Pastor Puyuelo" userId="4ba541ea-9651-41d4-862c-06544bb5ec7b" providerId="ADAL" clId="{FEA0C040-3B5B-4ED6-94F9-D68EEB265B8E}" dt="2022-12-21T15:01:57.997" v="271" actId="14100"/>
          <ac:spMkLst>
            <pc:docMk/>
            <pc:sldMk cId="2703659770" sldId="2533"/>
            <ac:spMk id="6" creationId="{C971CAFE-BA71-7051-0726-6F1A65631014}"/>
          </ac:spMkLst>
        </pc:spChg>
        <pc:spChg chg="mod">
          <ac:chgData name="David Pastor Puyuelo" userId="4ba541ea-9651-41d4-862c-06544bb5ec7b" providerId="ADAL" clId="{FEA0C040-3B5B-4ED6-94F9-D68EEB265B8E}" dt="2022-12-21T15:02:30.253" v="294" actId="20577"/>
          <ac:spMkLst>
            <pc:docMk/>
            <pc:sldMk cId="2703659770" sldId="2533"/>
            <ac:spMk id="12" creationId="{B7389055-ED77-4CBB-25AC-763AF829A1DC}"/>
          </ac:spMkLst>
        </pc:spChg>
        <pc:spChg chg="mod">
          <ac:chgData name="David Pastor Puyuelo" userId="4ba541ea-9651-41d4-862c-06544bb5ec7b" providerId="ADAL" clId="{FEA0C040-3B5B-4ED6-94F9-D68EEB265B8E}" dt="2022-12-21T15:04:10.858" v="336" actId="108"/>
          <ac:spMkLst>
            <pc:docMk/>
            <pc:sldMk cId="2703659770" sldId="2533"/>
            <ac:spMk id="28" creationId="{DD453CE2-6FED-4720-8043-DBD1D2185AE1}"/>
          </ac:spMkLst>
        </pc:spChg>
        <pc:picChg chg="del">
          <ac:chgData name="David Pastor Puyuelo" userId="4ba541ea-9651-41d4-862c-06544bb5ec7b" providerId="ADAL" clId="{FEA0C040-3B5B-4ED6-94F9-D68EEB265B8E}" dt="2022-12-21T14:59:55.971" v="250" actId="478"/>
          <ac:picMkLst>
            <pc:docMk/>
            <pc:sldMk cId="2703659770" sldId="2533"/>
            <ac:picMk id="4" creationId="{00000000-0000-0000-0000-000000000000}"/>
          </ac:picMkLst>
        </pc:picChg>
      </pc:sldChg>
      <pc:sldChg chg="del">
        <pc:chgData name="David Pastor Puyuelo" userId="4ba541ea-9651-41d4-862c-06544bb5ec7b" providerId="ADAL" clId="{FEA0C040-3B5B-4ED6-94F9-D68EEB265B8E}" dt="2022-12-21T14:57:52.622" v="130" actId="47"/>
        <pc:sldMkLst>
          <pc:docMk/>
          <pc:sldMk cId="1400832106" sldId="2534"/>
        </pc:sldMkLst>
      </pc:sldChg>
      <pc:sldChg chg="del">
        <pc:chgData name="David Pastor Puyuelo" userId="4ba541ea-9651-41d4-862c-06544bb5ec7b" providerId="ADAL" clId="{FEA0C040-3B5B-4ED6-94F9-D68EEB265B8E}" dt="2022-12-21T14:57:52.654" v="131" actId="47"/>
        <pc:sldMkLst>
          <pc:docMk/>
          <pc:sldMk cId="2843512306" sldId="2535"/>
        </pc:sldMkLst>
      </pc:sldChg>
      <pc:sldChg chg="del">
        <pc:chgData name="David Pastor Puyuelo" userId="4ba541ea-9651-41d4-862c-06544bb5ec7b" providerId="ADAL" clId="{FEA0C040-3B5B-4ED6-94F9-D68EEB265B8E}" dt="2022-12-21T14:57:52.706" v="132" actId="47"/>
        <pc:sldMkLst>
          <pc:docMk/>
          <pc:sldMk cId="3578325117" sldId="2536"/>
        </pc:sldMkLst>
      </pc:sldChg>
      <pc:sldChg chg="del">
        <pc:chgData name="David Pastor Puyuelo" userId="4ba541ea-9651-41d4-862c-06544bb5ec7b" providerId="ADAL" clId="{FEA0C040-3B5B-4ED6-94F9-D68EEB265B8E}" dt="2022-12-21T14:57:53.608" v="147" actId="47"/>
        <pc:sldMkLst>
          <pc:docMk/>
          <pc:sldMk cId="4067249812" sldId="2537"/>
        </pc:sldMkLst>
      </pc:sldChg>
      <pc:sldChg chg="del">
        <pc:chgData name="David Pastor Puyuelo" userId="4ba541ea-9651-41d4-862c-06544bb5ec7b" providerId="ADAL" clId="{FEA0C040-3B5B-4ED6-94F9-D68EEB265B8E}" dt="2022-12-21T14:59:23.348" v="244" actId="47"/>
        <pc:sldMkLst>
          <pc:docMk/>
          <pc:sldMk cId="3603959101" sldId="2538"/>
        </pc:sldMkLst>
      </pc:sldChg>
      <pc:sldChg chg="del">
        <pc:chgData name="David Pastor Puyuelo" userId="4ba541ea-9651-41d4-862c-06544bb5ec7b" providerId="ADAL" clId="{FEA0C040-3B5B-4ED6-94F9-D68EEB265B8E}" dt="2022-12-21T14:57:53.123" v="142" actId="47"/>
        <pc:sldMkLst>
          <pc:docMk/>
          <pc:sldMk cId="2749752798" sldId="2539"/>
        </pc:sldMkLst>
      </pc:sldChg>
      <pc:sldChg chg="modSp add mod">
        <pc:chgData name="David Pastor Puyuelo" userId="4ba541ea-9651-41d4-862c-06544bb5ec7b" providerId="ADAL" clId="{FEA0C040-3B5B-4ED6-94F9-D68EEB265B8E}" dt="2022-12-21T15:16:58.890" v="522"/>
        <pc:sldMkLst>
          <pc:docMk/>
          <pc:sldMk cId="3384221755" sldId="2539"/>
        </pc:sldMkLst>
        <pc:spChg chg="mod">
          <ac:chgData name="David Pastor Puyuelo" userId="4ba541ea-9651-41d4-862c-06544bb5ec7b" providerId="ADAL" clId="{FEA0C040-3B5B-4ED6-94F9-D68EEB265B8E}" dt="2022-12-21T15:16:58.890" v="522"/>
          <ac:spMkLst>
            <pc:docMk/>
            <pc:sldMk cId="3384221755" sldId="2539"/>
            <ac:spMk id="20" creationId="{EE2EB87E-F264-4765-9C66-FE84E21A3B66}"/>
          </ac:spMkLst>
        </pc:spChg>
      </pc:sldChg>
      <pc:sldChg chg="modSp add mod">
        <pc:chgData name="David Pastor Puyuelo" userId="4ba541ea-9651-41d4-862c-06544bb5ec7b" providerId="ADAL" clId="{FEA0C040-3B5B-4ED6-94F9-D68EEB265B8E}" dt="2022-12-21T15:17:04.335" v="523"/>
        <pc:sldMkLst>
          <pc:docMk/>
          <pc:sldMk cId="1708522861" sldId="2540"/>
        </pc:sldMkLst>
        <pc:spChg chg="mod">
          <ac:chgData name="David Pastor Puyuelo" userId="4ba541ea-9651-41d4-862c-06544bb5ec7b" providerId="ADAL" clId="{FEA0C040-3B5B-4ED6-94F9-D68EEB265B8E}" dt="2022-12-21T15:17:04.335" v="523"/>
          <ac:spMkLst>
            <pc:docMk/>
            <pc:sldMk cId="1708522861" sldId="2540"/>
            <ac:spMk id="20" creationId="{EE2EB87E-F264-4765-9C66-FE84E21A3B66}"/>
          </ac:spMkLst>
        </pc:spChg>
      </pc:sldChg>
      <pc:sldChg chg="del">
        <pc:chgData name="David Pastor Puyuelo" userId="4ba541ea-9651-41d4-862c-06544bb5ec7b" providerId="ADAL" clId="{FEA0C040-3B5B-4ED6-94F9-D68EEB265B8E}" dt="2022-12-21T14:57:45.209" v="102" actId="47"/>
        <pc:sldMkLst>
          <pc:docMk/>
          <pc:sldMk cId="3752976356" sldId="2540"/>
        </pc:sldMkLst>
      </pc:sldChg>
      <pc:sldChg chg="del">
        <pc:chgData name="David Pastor Puyuelo" userId="4ba541ea-9651-41d4-862c-06544bb5ec7b" providerId="ADAL" clId="{FEA0C040-3B5B-4ED6-94F9-D68EEB265B8E}" dt="2022-12-21T14:57:47.697" v="112" actId="47"/>
        <pc:sldMkLst>
          <pc:docMk/>
          <pc:sldMk cId="3360767178" sldId="2541"/>
        </pc:sldMkLst>
      </pc:sldChg>
      <pc:sldChg chg="addSp delSp modSp add mod">
        <pc:chgData name="David Pastor Puyuelo" userId="4ba541ea-9651-41d4-862c-06544bb5ec7b" providerId="ADAL" clId="{FEA0C040-3B5B-4ED6-94F9-D68EEB265B8E}" dt="2022-12-21T15:04:16.880" v="337" actId="108"/>
        <pc:sldMkLst>
          <pc:docMk/>
          <pc:sldMk cId="4140573979" sldId="2541"/>
        </pc:sldMkLst>
        <pc:spChg chg="del mod">
          <ac:chgData name="David Pastor Puyuelo" userId="4ba541ea-9651-41d4-862c-06544bb5ec7b" providerId="ADAL" clId="{FEA0C040-3B5B-4ED6-94F9-D68EEB265B8E}" dt="2022-12-21T15:03:29.054" v="311" actId="478"/>
          <ac:spMkLst>
            <pc:docMk/>
            <pc:sldMk cId="4140573979" sldId="2541"/>
            <ac:spMk id="6" creationId="{C971CAFE-BA71-7051-0726-6F1A65631014}"/>
          </ac:spMkLst>
        </pc:spChg>
        <pc:spChg chg="del mod">
          <ac:chgData name="David Pastor Puyuelo" userId="4ba541ea-9651-41d4-862c-06544bb5ec7b" providerId="ADAL" clId="{FEA0C040-3B5B-4ED6-94F9-D68EEB265B8E}" dt="2022-12-21T15:03:30.858" v="312" actId="478"/>
          <ac:spMkLst>
            <pc:docMk/>
            <pc:sldMk cId="4140573979" sldId="2541"/>
            <ac:spMk id="12" creationId="{B7389055-ED77-4CBB-25AC-763AF829A1DC}"/>
          </ac:spMkLst>
        </pc:spChg>
        <pc:spChg chg="mod">
          <ac:chgData name="David Pastor Puyuelo" userId="4ba541ea-9651-41d4-862c-06544bb5ec7b" providerId="ADAL" clId="{FEA0C040-3B5B-4ED6-94F9-D68EEB265B8E}" dt="2022-12-21T15:03:42.119" v="317" actId="20577"/>
          <ac:spMkLst>
            <pc:docMk/>
            <pc:sldMk cId="4140573979" sldId="2541"/>
            <ac:spMk id="22" creationId="{6EA10ED2-50E3-40EA-8CC2-55F5E96A71E8}"/>
          </ac:spMkLst>
        </pc:spChg>
        <pc:spChg chg="mod">
          <ac:chgData name="David Pastor Puyuelo" userId="4ba541ea-9651-41d4-862c-06544bb5ec7b" providerId="ADAL" clId="{FEA0C040-3B5B-4ED6-94F9-D68EEB265B8E}" dt="2022-12-21T15:04:16.880" v="337" actId="108"/>
          <ac:spMkLst>
            <pc:docMk/>
            <pc:sldMk cId="4140573979" sldId="2541"/>
            <ac:spMk id="28" creationId="{DD453CE2-6FED-4720-8043-DBD1D2185AE1}"/>
          </ac:spMkLst>
        </pc:spChg>
        <pc:picChg chg="add mod">
          <ac:chgData name="David Pastor Puyuelo" userId="4ba541ea-9651-41d4-862c-06544bb5ec7b" providerId="ADAL" clId="{FEA0C040-3B5B-4ED6-94F9-D68EEB265B8E}" dt="2022-12-21T15:03:38.667" v="315" actId="1076"/>
          <ac:picMkLst>
            <pc:docMk/>
            <pc:sldMk cId="4140573979" sldId="2541"/>
            <ac:picMk id="4" creationId="{C0A07F83-8FDD-74B0-0DE5-8AA7E0295503}"/>
          </ac:picMkLst>
        </pc:picChg>
      </pc:sldChg>
      <pc:sldChg chg="addSp delSp modSp add mod">
        <pc:chgData name="David Pastor Puyuelo" userId="4ba541ea-9651-41d4-862c-06544bb5ec7b" providerId="ADAL" clId="{FEA0C040-3B5B-4ED6-94F9-D68EEB265B8E}" dt="2022-12-21T15:04:38.250" v="342" actId="1076"/>
        <pc:sldMkLst>
          <pc:docMk/>
          <pc:sldMk cId="1036348827" sldId="2542"/>
        </pc:sldMkLst>
        <pc:picChg chg="del">
          <ac:chgData name="David Pastor Puyuelo" userId="4ba541ea-9651-41d4-862c-06544bb5ec7b" providerId="ADAL" clId="{FEA0C040-3B5B-4ED6-94F9-D68EEB265B8E}" dt="2022-12-21T15:04:33.485" v="339" actId="478"/>
          <ac:picMkLst>
            <pc:docMk/>
            <pc:sldMk cId="1036348827" sldId="2542"/>
            <ac:picMk id="4" creationId="{C0A07F83-8FDD-74B0-0DE5-8AA7E0295503}"/>
          </ac:picMkLst>
        </pc:picChg>
        <pc:picChg chg="add mod">
          <ac:chgData name="David Pastor Puyuelo" userId="4ba541ea-9651-41d4-862c-06544bb5ec7b" providerId="ADAL" clId="{FEA0C040-3B5B-4ED6-94F9-D68EEB265B8E}" dt="2022-12-21T15:04:38.250" v="342" actId="1076"/>
          <ac:picMkLst>
            <pc:docMk/>
            <pc:sldMk cId="1036348827" sldId="2542"/>
            <ac:picMk id="6" creationId="{F600EF4F-CC95-857F-60E8-C4FEEF2971C1}"/>
          </ac:picMkLst>
        </pc:picChg>
      </pc:sldChg>
      <pc:sldChg chg="del">
        <pc:chgData name="David Pastor Puyuelo" userId="4ba541ea-9651-41d4-862c-06544bb5ec7b" providerId="ADAL" clId="{FEA0C040-3B5B-4ED6-94F9-D68EEB265B8E}" dt="2022-12-21T14:57:51.541" v="120" actId="47"/>
        <pc:sldMkLst>
          <pc:docMk/>
          <pc:sldMk cId="1485421936" sldId="2542"/>
        </pc:sldMkLst>
      </pc:sldChg>
      <pc:sldChg chg="del">
        <pc:chgData name="David Pastor Puyuelo" userId="4ba541ea-9651-41d4-862c-06544bb5ec7b" providerId="ADAL" clId="{FEA0C040-3B5B-4ED6-94F9-D68EEB265B8E}" dt="2022-12-21T14:57:52.591" v="129" actId="47"/>
        <pc:sldMkLst>
          <pc:docMk/>
          <pc:sldMk cId="498514893" sldId="2543"/>
        </pc:sldMkLst>
      </pc:sldChg>
      <pc:sldChg chg="modSp add mod">
        <pc:chgData name="David Pastor Puyuelo" userId="4ba541ea-9651-41d4-862c-06544bb5ec7b" providerId="ADAL" clId="{FEA0C040-3B5B-4ED6-94F9-D68EEB265B8E}" dt="2022-12-21T15:17:08.820" v="524"/>
        <pc:sldMkLst>
          <pc:docMk/>
          <pc:sldMk cId="3907826452" sldId="2543"/>
        </pc:sldMkLst>
        <pc:spChg chg="mod">
          <ac:chgData name="David Pastor Puyuelo" userId="4ba541ea-9651-41d4-862c-06544bb5ec7b" providerId="ADAL" clId="{FEA0C040-3B5B-4ED6-94F9-D68EEB265B8E}" dt="2022-12-21T15:17:08.820" v="524"/>
          <ac:spMkLst>
            <pc:docMk/>
            <pc:sldMk cId="3907826452" sldId="2543"/>
            <ac:spMk id="20" creationId="{EE2EB87E-F264-4765-9C66-FE84E21A3B66}"/>
          </ac:spMkLst>
        </pc:spChg>
      </pc:sldChg>
      <pc:sldChg chg="addSp delSp modSp add mod">
        <pc:chgData name="David Pastor Puyuelo" userId="4ba541ea-9651-41d4-862c-06544bb5ec7b" providerId="ADAL" clId="{FEA0C040-3B5B-4ED6-94F9-D68EEB265B8E}" dt="2022-12-21T15:06:50.241" v="370" actId="20577"/>
        <pc:sldMkLst>
          <pc:docMk/>
          <pc:sldMk cId="109671560" sldId="2544"/>
        </pc:sldMkLst>
        <pc:spChg chg="mod">
          <ac:chgData name="David Pastor Puyuelo" userId="4ba541ea-9651-41d4-862c-06544bb5ec7b" providerId="ADAL" clId="{FEA0C040-3B5B-4ED6-94F9-D68EEB265B8E}" dt="2022-12-21T15:06:50.241" v="370" actId="20577"/>
          <ac:spMkLst>
            <pc:docMk/>
            <pc:sldMk cId="109671560" sldId="2544"/>
            <ac:spMk id="22" creationId="{6EA10ED2-50E3-40EA-8CC2-55F5E96A71E8}"/>
          </ac:spMkLst>
        </pc:spChg>
        <pc:spChg chg="mod">
          <ac:chgData name="David Pastor Puyuelo" userId="4ba541ea-9651-41d4-862c-06544bb5ec7b" providerId="ADAL" clId="{FEA0C040-3B5B-4ED6-94F9-D68EEB265B8E}" dt="2022-12-21T15:05:01.488" v="359" actId="20577"/>
          <ac:spMkLst>
            <pc:docMk/>
            <pc:sldMk cId="109671560" sldId="2544"/>
            <ac:spMk id="28" creationId="{DD453CE2-6FED-4720-8043-DBD1D2185AE1}"/>
          </ac:spMkLst>
        </pc:spChg>
        <pc:picChg chg="add mod">
          <ac:chgData name="David Pastor Puyuelo" userId="4ba541ea-9651-41d4-862c-06544bb5ec7b" providerId="ADAL" clId="{FEA0C040-3B5B-4ED6-94F9-D68EEB265B8E}" dt="2022-12-21T15:06:31.260" v="365" actId="1076"/>
          <ac:picMkLst>
            <pc:docMk/>
            <pc:sldMk cId="109671560" sldId="2544"/>
            <ac:picMk id="4" creationId="{D385F82B-AF39-6D5E-1CDA-8224AF81AF04}"/>
          </ac:picMkLst>
        </pc:picChg>
        <pc:picChg chg="del">
          <ac:chgData name="David Pastor Puyuelo" userId="4ba541ea-9651-41d4-862c-06544bb5ec7b" providerId="ADAL" clId="{FEA0C040-3B5B-4ED6-94F9-D68EEB265B8E}" dt="2022-12-21T15:05:03.037" v="360" actId="478"/>
          <ac:picMkLst>
            <pc:docMk/>
            <pc:sldMk cId="109671560" sldId="2544"/>
            <ac:picMk id="6" creationId="{F600EF4F-CC95-857F-60E8-C4FEEF2971C1}"/>
          </ac:picMkLst>
        </pc:picChg>
        <pc:picChg chg="add mod">
          <ac:chgData name="David Pastor Puyuelo" userId="4ba541ea-9651-41d4-862c-06544bb5ec7b" providerId="ADAL" clId="{FEA0C040-3B5B-4ED6-94F9-D68EEB265B8E}" dt="2022-12-21T15:06:34.090" v="367" actId="1076"/>
          <ac:picMkLst>
            <pc:docMk/>
            <pc:sldMk cId="109671560" sldId="2544"/>
            <ac:picMk id="9" creationId="{7C027CB5-7013-6530-1B31-25EC9F3C871C}"/>
          </ac:picMkLst>
        </pc:picChg>
      </pc:sldChg>
      <pc:sldChg chg="del">
        <pc:chgData name="David Pastor Puyuelo" userId="4ba541ea-9651-41d4-862c-06544bb5ec7b" providerId="ADAL" clId="{FEA0C040-3B5B-4ED6-94F9-D68EEB265B8E}" dt="2022-12-21T14:57:52.721" v="133" actId="47"/>
        <pc:sldMkLst>
          <pc:docMk/>
          <pc:sldMk cId="2742300524" sldId="2544"/>
        </pc:sldMkLst>
      </pc:sldChg>
      <pc:sldChg chg="add del">
        <pc:chgData name="David Pastor Puyuelo" userId="4ba541ea-9651-41d4-862c-06544bb5ec7b" providerId="ADAL" clId="{FEA0C040-3B5B-4ED6-94F9-D68EEB265B8E}" dt="2022-12-21T15:06:36.094" v="368" actId="47"/>
        <pc:sldMkLst>
          <pc:docMk/>
          <pc:sldMk cId="1634560592" sldId="2545"/>
        </pc:sldMkLst>
      </pc:sldChg>
      <pc:sldChg chg="del">
        <pc:chgData name="David Pastor Puyuelo" userId="4ba541ea-9651-41d4-862c-06544bb5ec7b" providerId="ADAL" clId="{FEA0C040-3B5B-4ED6-94F9-D68EEB265B8E}" dt="2022-12-21T14:57:52.907" v="137" actId="47"/>
        <pc:sldMkLst>
          <pc:docMk/>
          <pc:sldMk cId="3228638632" sldId="2545"/>
        </pc:sldMkLst>
      </pc:sldChg>
      <pc:sldChg chg="modSp add mod">
        <pc:chgData name="David Pastor Puyuelo" userId="4ba541ea-9651-41d4-862c-06544bb5ec7b" providerId="ADAL" clId="{FEA0C040-3B5B-4ED6-94F9-D68EEB265B8E}" dt="2022-12-21T15:17:11.858" v="525"/>
        <pc:sldMkLst>
          <pc:docMk/>
          <pc:sldMk cId="3955207237" sldId="2545"/>
        </pc:sldMkLst>
        <pc:spChg chg="mod">
          <ac:chgData name="David Pastor Puyuelo" userId="4ba541ea-9651-41d4-862c-06544bb5ec7b" providerId="ADAL" clId="{FEA0C040-3B5B-4ED6-94F9-D68EEB265B8E}" dt="2022-12-21T15:17:11.858" v="525"/>
          <ac:spMkLst>
            <pc:docMk/>
            <pc:sldMk cId="3955207237" sldId="2545"/>
            <ac:spMk id="20" creationId="{EE2EB87E-F264-4765-9C66-FE84E21A3B66}"/>
          </ac:spMkLst>
        </pc:spChg>
      </pc:sldChg>
      <pc:sldChg chg="addSp delSp modSp add mod">
        <pc:chgData name="David Pastor Puyuelo" userId="4ba541ea-9651-41d4-862c-06544bb5ec7b" providerId="ADAL" clId="{FEA0C040-3B5B-4ED6-94F9-D68EEB265B8E}" dt="2022-12-21T15:12:05.889" v="420" actId="1076"/>
        <pc:sldMkLst>
          <pc:docMk/>
          <pc:sldMk cId="2042394343" sldId="2546"/>
        </pc:sldMkLst>
        <pc:spChg chg="mod">
          <ac:chgData name="David Pastor Puyuelo" userId="4ba541ea-9651-41d4-862c-06544bb5ec7b" providerId="ADAL" clId="{FEA0C040-3B5B-4ED6-94F9-D68EEB265B8E}" dt="2022-12-21T15:08:16.485" v="376" actId="20577"/>
          <ac:spMkLst>
            <pc:docMk/>
            <pc:sldMk cId="2042394343" sldId="2546"/>
            <ac:spMk id="22" creationId="{6EA10ED2-50E3-40EA-8CC2-55F5E96A71E8}"/>
          </ac:spMkLst>
        </pc:spChg>
        <pc:spChg chg="mod">
          <ac:chgData name="David Pastor Puyuelo" userId="4ba541ea-9651-41d4-862c-06544bb5ec7b" providerId="ADAL" clId="{FEA0C040-3B5B-4ED6-94F9-D68EEB265B8E}" dt="2022-12-21T15:08:22.444" v="396" actId="20577"/>
          <ac:spMkLst>
            <pc:docMk/>
            <pc:sldMk cId="2042394343" sldId="2546"/>
            <ac:spMk id="28" creationId="{DD453CE2-6FED-4720-8043-DBD1D2185AE1}"/>
          </ac:spMkLst>
        </pc:spChg>
        <pc:picChg chg="del">
          <ac:chgData name="David Pastor Puyuelo" userId="4ba541ea-9651-41d4-862c-06544bb5ec7b" providerId="ADAL" clId="{FEA0C040-3B5B-4ED6-94F9-D68EEB265B8E}" dt="2022-12-21T15:08:23.761" v="397" actId="478"/>
          <ac:picMkLst>
            <pc:docMk/>
            <pc:sldMk cId="2042394343" sldId="2546"/>
            <ac:picMk id="4" creationId="{D385F82B-AF39-6D5E-1CDA-8224AF81AF04}"/>
          </ac:picMkLst>
        </pc:picChg>
        <pc:picChg chg="add mod">
          <ac:chgData name="David Pastor Puyuelo" userId="4ba541ea-9651-41d4-862c-06544bb5ec7b" providerId="ADAL" clId="{FEA0C040-3B5B-4ED6-94F9-D68EEB265B8E}" dt="2022-12-21T15:09:23.131" v="401" actId="1076"/>
          <ac:picMkLst>
            <pc:docMk/>
            <pc:sldMk cId="2042394343" sldId="2546"/>
            <ac:picMk id="6" creationId="{9D50C29B-E365-E649-3DD6-42894665E0D4}"/>
          </ac:picMkLst>
        </pc:picChg>
        <pc:picChg chg="del">
          <ac:chgData name="David Pastor Puyuelo" userId="4ba541ea-9651-41d4-862c-06544bb5ec7b" providerId="ADAL" clId="{FEA0C040-3B5B-4ED6-94F9-D68EEB265B8E}" dt="2022-12-21T15:08:24.187" v="398" actId="478"/>
          <ac:picMkLst>
            <pc:docMk/>
            <pc:sldMk cId="2042394343" sldId="2546"/>
            <ac:picMk id="9" creationId="{7C027CB5-7013-6530-1B31-25EC9F3C871C}"/>
          </ac:picMkLst>
        </pc:picChg>
        <pc:picChg chg="add mod">
          <ac:chgData name="David Pastor Puyuelo" userId="4ba541ea-9651-41d4-862c-06544bb5ec7b" providerId="ADAL" clId="{FEA0C040-3B5B-4ED6-94F9-D68EEB265B8E}" dt="2022-12-21T15:09:59.284" v="405" actId="14100"/>
          <ac:picMkLst>
            <pc:docMk/>
            <pc:sldMk cId="2042394343" sldId="2546"/>
            <ac:picMk id="10" creationId="{F6EFD302-BC54-152F-F162-39E96DE0621D}"/>
          </ac:picMkLst>
        </pc:picChg>
        <pc:picChg chg="add del mod">
          <ac:chgData name="David Pastor Puyuelo" userId="4ba541ea-9651-41d4-862c-06544bb5ec7b" providerId="ADAL" clId="{FEA0C040-3B5B-4ED6-94F9-D68EEB265B8E}" dt="2022-12-21T15:10:41.944" v="412" actId="478"/>
          <ac:picMkLst>
            <pc:docMk/>
            <pc:sldMk cId="2042394343" sldId="2546"/>
            <ac:picMk id="12" creationId="{86897F24-AC90-23EF-03EC-1D7F68536ABB}"/>
          </ac:picMkLst>
        </pc:picChg>
        <pc:picChg chg="add mod">
          <ac:chgData name="David Pastor Puyuelo" userId="4ba541ea-9651-41d4-862c-06544bb5ec7b" providerId="ADAL" clId="{FEA0C040-3B5B-4ED6-94F9-D68EEB265B8E}" dt="2022-12-21T15:11:04.143" v="416" actId="1076"/>
          <ac:picMkLst>
            <pc:docMk/>
            <pc:sldMk cId="2042394343" sldId="2546"/>
            <ac:picMk id="14" creationId="{CB3FBD7C-0B3D-099F-7B23-F0C38D4DA4CE}"/>
          </ac:picMkLst>
        </pc:picChg>
        <pc:picChg chg="add mod">
          <ac:chgData name="David Pastor Puyuelo" userId="4ba541ea-9651-41d4-862c-06544bb5ec7b" providerId="ADAL" clId="{FEA0C040-3B5B-4ED6-94F9-D68EEB265B8E}" dt="2022-12-21T15:12:05.889" v="420" actId="1076"/>
          <ac:picMkLst>
            <pc:docMk/>
            <pc:sldMk cId="2042394343" sldId="2546"/>
            <ac:picMk id="16" creationId="{8F849E6E-5F16-7414-ACAB-4AC08C20E799}"/>
          </ac:picMkLst>
        </pc:picChg>
      </pc:sldChg>
      <pc:sldChg chg="del">
        <pc:chgData name="David Pastor Puyuelo" userId="4ba541ea-9651-41d4-862c-06544bb5ec7b" providerId="ADAL" clId="{FEA0C040-3B5B-4ED6-94F9-D68EEB265B8E}" dt="2022-12-21T14:57:52.976" v="139" actId="47"/>
        <pc:sldMkLst>
          <pc:docMk/>
          <pc:sldMk cId="2986735247" sldId="2546"/>
        </pc:sldMkLst>
      </pc:sldChg>
      <pc:sldChg chg="modSp add mod">
        <pc:chgData name="David Pastor Puyuelo" userId="4ba541ea-9651-41d4-862c-06544bb5ec7b" providerId="ADAL" clId="{FEA0C040-3B5B-4ED6-94F9-D68EEB265B8E}" dt="2022-12-21T15:17:19.407" v="528"/>
        <pc:sldMkLst>
          <pc:docMk/>
          <pc:sldMk cId="955716269" sldId="2547"/>
        </pc:sldMkLst>
        <pc:spChg chg="mod">
          <ac:chgData name="David Pastor Puyuelo" userId="4ba541ea-9651-41d4-862c-06544bb5ec7b" providerId="ADAL" clId="{FEA0C040-3B5B-4ED6-94F9-D68EEB265B8E}" dt="2022-12-21T15:17:19.407" v="528"/>
          <ac:spMkLst>
            <pc:docMk/>
            <pc:sldMk cId="955716269" sldId="2547"/>
            <ac:spMk id="20" creationId="{EE2EB87E-F264-4765-9C66-FE84E21A3B66}"/>
          </ac:spMkLst>
        </pc:spChg>
      </pc:sldChg>
      <pc:sldChg chg="del">
        <pc:chgData name="David Pastor Puyuelo" userId="4ba541ea-9651-41d4-862c-06544bb5ec7b" providerId="ADAL" clId="{FEA0C040-3B5B-4ED6-94F9-D68EEB265B8E}" dt="2022-12-21T14:57:53.184" v="144" actId="47"/>
        <pc:sldMkLst>
          <pc:docMk/>
          <pc:sldMk cId="3428195346" sldId="2547"/>
        </pc:sldMkLst>
      </pc:sldChg>
      <pc:sldChg chg="addSp delSp modSp add mod">
        <pc:chgData name="David Pastor Puyuelo" userId="4ba541ea-9651-41d4-862c-06544bb5ec7b" providerId="ADAL" clId="{FEA0C040-3B5B-4ED6-94F9-D68EEB265B8E}" dt="2022-12-21T15:18:35.638" v="550" actId="1076"/>
        <pc:sldMkLst>
          <pc:docMk/>
          <pc:sldMk cId="886532118" sldId="2548"/>
        </pc:sldMkLst>
        <pc:spChg chg="mod">
          <ac:chgData name="David Pastor Puyuelo" userId="4ba541ea-9651-41d4-862c-06544bb5ec7b" providerId="ADAL" clId="{FEA0C040-3B5B-4ED6-94F9-D68EEB265B8E}" dt="2022-12-21T15:12:32.931" v="425" actId="20577"/>
          <ac:spMkLst>
            <pc:docMk/>
            <pc:sldMk cId="886532118" sldId="2548"/>
            <ac:spMk id="22" creationId="{6EA10ED2-50E3-40EA-8CC2-55F5E96A71E8}"/>
          </ac:spMkLst>
        </pc:spChg>
        <pc:spChg chg="mod">
          <ac:chgData name="David Pastor Puyuelo" userId="4ba541ea-9651-41d4-862c-06544bb5ec7b" providerId="ADAL" clId="{FEA0C040-3B5B-4ED6-94F9-D68EEB265B8E}" dt="2022-12-21T15:12:37.870" v="436" actId="20577"/>
          <ac:spMkLst>
            <pc:docMk/>
            <pc:sldMk cId="886532118" sldId="2548"/>
            <ac:spMk id="28" creationId="{DD453CE2-6FED-4720-8043-DBD1D2185AE1}"/>
          </ac:spMkLst>
        </pc:spChg>
        <pc:picChg chg="add mod">
          <ac:chgData name="David Pastor Puyuelo" userId="4ba541ea-9651-41d4-862c-06544bb5ec7b" providerId="ADAL" clId="{FEA0C040-3B5B-4ED6-94F9-D68EEB265B8E}" dt="2022-12-21T15:18:33.344" v="549" actId="1076"/>
          <ac:picMkLst>
            <pc:docMk/>
            <pc:sldMk cId="886532118" sldId="2548"/>
            <ac:picMk id="4" creationId="{59BD93E4-2F06-855A-8EC0-1E96997AB122}"/>
          </ac:picMkLst>
        </pc:picChg>
        <pc:picChg chg="del">
          <ac:chgData name="David Pastor Puyuelo" userId="4ba541ea-9651-41d4-862c-06544bb5ec7b" providerId="ADAL" clId="{FEA0C040-3B5B-4ED6-94F9-D68EEB265B8E}" dt="2022-12-21T15:12:39.110" v="437" actId="478"/>
          <ac:picMkLst>
            <pc:docMk/>
            <pc:sldMk cId="886532118" sldId="2548"/>
            <ac:picMk id="6" creationId="{9D50C29B-E365-E649-3DD6-42894665E0D4}"/>
          </ac:picMkLst>
        </pc:picChg>
        <pc:picChg chg="add mod">
          <ac:chgData name="David Pastor Puyuelo" userId="4ba541ea-9651-41d4-862c-06544bb5ec7b" providerId="ADAL" clId="{FEA0C040-3B5B-4ED6-94F9-D68EEB265B8E}" dt="2022-12-21T15:18:35.638" v="550" actId="1076"/>
          <ac:picMkLst>
            <pc:docMk/>
            <pc:sldMk cId="886532118" sldId="2548"/>
            <ac:picMk id="9" creationId="{640D463A-CC93-4FB8-2AF8-50C1CCA70D0F}"/>
          </ac:picMkLst>
        </pc:picChg>
        <pc:picChg chg="del">
          <ac:chgData name="David Pastor Puyuelo" userId="4ba541ea-9651-41d4-862c-06544bb5ec7b" providerId="ADAL" clId="{FEA0C040-3B5B-4ED6-94F9-D68EEB265B8E}" dt="2022-12-21T15:12:39.514" v="438" actId="478"/>
          <ac:picMkLst>
            <pc:docMk/>
            <pc:sldMk cId="886532118" sldId="2548"/>
            <ac:picMk id="10" creationId="{F6EFD302-BC54-152F-F162-39E96DE0621D}"/>
          </ac:picMkLst>
        </pc:picChg>
        <pc:picChg chg="del">
          <ac:chgData name="David Pastor Puyuelo" userId="4ba541ea-9651-41d4-862c-06544bb5ec7b" providerId="ADAL" clId="{FEA0C040-3B5B-4ED6-94F9-D68EEB265B8E}" dt="2022-12-21T15:12:40.440" v="440" actId="478"/>
          <ac:picMkLst>
            <pc:docMk/>
            <pc:sldMk cId="886532118" sldId="2548"/>
            <ac:picMk id="14" creationId="{CB3FBD7C-0B3D-099F-7B23-F0C38D4DA4CE}"/>
          </ac:picMkLst>
        </pc:picChg>
        <pc:picChg chg="del">
          <ac:chgData name="David Pastor Puyuelo" userId="4ba541ea-9651-41d4-862c-06544bb5ec7b" providerId="ADAL" clId="{FEA0C040-3B5B-4ED6-94F9-D68EEB265B8E}" dt="2022-12-21T15:12:39.984" v="439" actId="478"/>
          <ac:picMkLst>
            <pc:docMk/>
            <pc:sldMk cId="886532118" sldId="2548"/>
            <ac:picMk id="16" creationId="{8F849E6E-5F16-7414-ACAB-4AC08C20E799}"/>
          </ac:picMkLst>
        </pc:picChg>
        <pc:picChg chg="add mod">
          <ac:chgData name="David Pastor Puyuelo" userId="4ba541ea-9651-41d4-862c-06544bb5ec7b" providerId="ADAL" clId="{FEA0C040-3B5B-4ED6-94F9-D68EEB265B8E}" dt="2022-12-21T15:13:21.765" v="444" actId="1076"/>
          <ac:picMkLst>
            <pc:docMk/>
            <pc:sldMk cId="886532118" sldId="2548"/>
            <ac:picMk id="217090" creationId="{7571D5ED-B2F8-D0B6-50CF-4858F13B5CBB}"/>
          </ac:picMkLst>
        </pc:picChg>
      </pc:sldChg>
      <pc:sldChg chg="del">
        <pc:chgData name="David Pastor Puyuelo" userId="4ba541ea-9651-41d4-862c-06544bb5ec7b" providerId="ADAL" clId="{FEA0C040-3B5B-4ED6-94F9-D68EEB265B8E}" dt="2022-12-21T14:57:53.246" v="146" actId="47"/>
        <pc:sldMkLst>
          <pc:docMk/>
          <pc:sldMk cId="2244065773" sldId="2549"/>
        </pc:sldMkLst>
      </pc:sldChg>
      <pc:sldChg chg="modSp add mod">
        <pc:chgData name="David Pastor Puyuelo" userId="4ba541ea-9651-41d4-862c-06544bb5ec7b" providerId="ADAL" clId="{FEA0C040-3B5B-4ED6-94F9-D68EEB265B8E}" dt="2022-12-21T15:17:23.429" v="529"/>
        <pc:sldMkLst>
          <pc:docMk/>
          <pc:sldMk cId="3845001796" sldId="2549"/>
        </pc:sldMkLst>
        <pc:spChg chg="mod">
          <ac:chgData name="David Pastor Puyuelo" userId="4ba541ea-9651-41d4-862c-06544bb5ec7b" providerId="ADAL" clId="{FEA0C040-3B5B-4ED6-94F9-D68EEB265B8E}" dt="2022-12-21T15:17:23.429" v="529"/>
          <ac:spMkLst>
            <pc:docMk/>
            <pc:sldMk cId="3845001796" sldId="2549"/>
            <ac:spMk id="20" creationId="{EE2EB87E-F264-4765-9C66-FE84E21A3B66}"/>
          </ac:spMkLst>
        </pc:spChg>
      </pc:sldChg>
      <pc:sldChg chg="addSp delSp modSp add mod">
        <pc:chgData name="David Pastor Puyuelo" userId="4ba541ea-9651-41d4-862c-06544bb5ec7b" providerId="ADAL" clId="{FEA0C040-3B5B-4ED6-94F9-D68EEB265B8E}" dt="2022-12-21T15:15:24.064" v="474" actId="478"/>
        <pc:sldMkLst>
          <pc:docMk/>
          <pc:sldMk cId="1815120102" sldId="2550"/>
        </pc:sldMkLst>
        <pc:spChg chg="mod">
          <ac:chgData name="David Pastor Puyuelo" userId="4ba541ea-9651-41d4-862c-06544bb5ec7b" providerId="ADAL" clId="{FEA0C040-3B5B-4ED6-94F9-D68EEB265B8E}" dt="2022-12-21T15:15:01.153" v="452" actId="20577"/>
          <ac:spMkLst>
            <pc:docMk/>
            <pc:sldMk cId="1815120102" sldId="2550"/>
            <ac:spMk id="22" creationId="{6EA10ED2-50E3-40EA-8CC2-55F5E96A71E8}"/>
          </ac:spMkLst>
        </pc:spChg>
        <pc:spChg chg="mod">
          <ac:chgData name="David Pastor Puyuelo" userId="4ba541ea-9651-41d4-862c-06544bb5ec7b" providerId="ADAL" clId="{FEA0C040-3B5B-4ED6-94F9-D68EEB265B8E}" dt="2022-12-21T15:15:04.106" v="461" actId="20577"/>
          <ac:spMkLst>
            <pc:docMk/>
            <pc:sldMk cId="1815120102" sldId="2550"/>
            <ac:spMk id="28" creationId="{DD453CE2-6FED-4720-8043-DBD1D2185AE1}"/>
          </ac:spMkLst>
        </pc:spChg>
        <pc:picChg chg="del">
          <ac:chgData name="David Pastor Puyuelo" userId="4ba541ea-9651-41d4-862c-06544bb5ec7b" providerId="ADAL" clId="{FEA0C040-3B5B-4ED6-94F9-D68EEB265B8E}" dt="2022-12-21T15:15:05.625" v="463" actId="478"/>
          <ac:picMkLst>
            <pc:docMk/>
            <pc:sldMk cId="1815120102" sldId="2550"/>
            <ac:picMk id="4" creationId="{59BD93E4-2F06-855A-8EC0-1E96997AB122}"/>
          </ac:picMkLst>
        </pc:picChg>
        <pc:picChg chg="add mod">
          <ac:chgData name="David Pastor Puyuelo" userId="4ba541ea-9651-41d4-862c-06544bb5ec7b" providerId="ADAL" clId="{FEA0C040-3B5B-4ED6-94F9-D68EEB265B8E}" dt="2022-12-21T15:15:21.760" v="470" actId="27614"/>
          <ac:picMkLst>
            <pc:docMk/>
            <pc:sldMk cId="1815120102" sldId="2550"/>
            <ac:picMk id="6" creationId="{078B98BF-1B0F-73BC-C207-0844D465CE1D}"/>
          </ac:picMkLst>
        </pc:picChg>
        <pc:picChg chg="add del mod">
          <ac:chgData name="David Pastor Puyuelo" userId="4ba541ea-9651-41d4-862c-06544bb5ec7b" providerId="ADAL" clId="{FEA0C040-3B5B-4ED6-94F9-D68EEB265B8E}" dt="2022-12-21T15:15:23.315" v="473" actId="478"/>
          <ac:picMkLst>
            <pc:docMk/>
            <pc:sldMk cId="1815120102" sldId="2550"/>
            <ac:picMk id="9" creationId="{4751ECFE-3CD3-5A9A-D065-D5E091AEE92A}"/>
          </ac:picMkLst>
        </pc:picChg>
        <pc:picChg chg="add del mod">
          <ac:chgData name="David Pastor Puyuelo" userId="4ba541ea-9651-41d4-862c-06544bb5ec7b" providerId="ADAL" clId="{FEA0C040-3B5B-4ED6-94F9-D68EEB265B8E}" dt="2022-12-21T15:15:24.064" v="474" actId="478"/>
          <ac:picMkLst>
            <pc:docMk/>
            <pc:sldMk cId="1815120102" sldId="2550"/>
            <ac:picMk id="11" creationId="{1E818507-CCA6-D5DE-A57D-58B55D31A95F}"/>
          </ac:picMkLst>
        </pc:picChg>
        <pc:picChg chg="del">
          <ac:chgData name="David Pastor Puyuelo" userId="4ba541ea-9651-41d4-862c-06544bb5ec7b" providerId="ADAL" clId="{FEA0C040-3B5B-4ED6-94F9-D68EEB265B8E}" dt="2022-12-21T15:15:05.155" v="462" actId="478"/>
          <ac:picMkLst>
            <pc:docMk/>
            <pc:sldMk cId="1815120102" sldId="2550"/>
            <ac:picMk id="217090" creationId="{7571D5ED-B2F8-D0B6-50CF-4858F13B5CBB}"/>
          </ac:picMkLst>
        </pc:picChg>
      </pc:sldChg>
      <pc:sldChg chg="addSp delSp modSp add mod">
        <pc:chgData name="David Pastor Puyuelo" userId="4ba541ea-9651-41d4-862c-06544bb5ec7b" providerId="ADAL" clId="{FEA0C040-3B5B-4ED6-94F9-D68EEB265B8E}" dt="2022-12-21T15:15:50.256" v="491" actId="1076"/>
        <pc:sldMkLst>
          <pc:docMk/>
          <pc:sldMk cId="3759024506" sldId="2551"/>
        </pc:sldMkLst>
        <pc:picChg chg="add mod">
          <ac:chgData name="David Pastor Puyuelo" userId="4ba541ea-9651-41d4-862c-06544bb5ec7b" providerId="ADAL" clId="{FEA0C040-3B5B-4ED6-94F9-D68EEB265B8E}" dt="2022-12-21T15:15:50.256" v="491" actId="1076"/>
          <ac:picMkLst>
            <pc:docMk/>
            <pc:sldMk cId="3759024506" sldId="2551"/>
            <ac:picMk id="4" creationId="{BEFA5A42-025D-2B84-E278-99515D321C6B}"/>
          </ac:picMkLst>
        </pc:picChg>
        <pc:picChg chg="del">
          <ac:chgData name="David Pastor Puyuelo" userId="4ba541ea-9651-41d4-862c-06544bb5ec7b" providerId="ADAL" clId="{FEA0C040-3B5B-4ED6-94F9-D68EEB265B8E}" dt="2022-12-21T15:15:25.953" v="475" actId="478"/>
          <ac:picMkLst>
            <pc:docMk/>
            <pc:sldMk cId="3759024506" sldId="2551"/>
            <ac:picMk id="6" creationId="{078B98BF-1B0F-73BC-C207-0844D465CE1D}"/>
          </ac:picMkLst>
        </pc:picChg>
        <pc:picChg chg="del">
          <ac:chgData name="David Pastor Puyuelo" userId="4ba541ea-9651-41d4-862c-06544bb5ec7b" providerId="ADAL" clId="{FEA0C040-3B5B-4ED6-94F9-D68EEB265B8E}" dt="2022-12-21T15:15:26.338" v="476" actId="478"/>
          <ac:picMkLst>
            <pc:docMk/>
            <pc:sldMk cId="3759024506" sldId="2551"/>
            <ac:picMk id="9" creationId="{4751ECFE-3CD3-5A9A-D065-D5E091AEE92A}"/>
          </ac:picMkLst>
        </pc:picChg>
        <pc:picChg chg="add mod">
          <ac:chgData name="David Pastor Puyuelo" userId="4ba541ea-9651-41d4-862c-06544bb5ec7b" providerId="ADAL" clId="{FEA0C040-3B5B-4ED6-94F9-D68EEB265B8E}" dt="2022-12-21T15:15:48.066" v="490" actId="1076"/>
          <ac:picMkLst>
            <pc:docMk/>
            <pc:sldMk cId="3759024506" sldId="2551"/>
            <ac:picMk id="10" creationId="{5C709541-8B0B-9315-7E22-16112B2C7202}"/>
          </ac:picMkLst>
        </pc:picChg>
        <pc:picChg chg="del">
          <ac:chgData name="David Pastor Puyuelo" userId="4ba541ea-9651-41d4-862c-06544bb5ec7b" providerId="ADAL" clId="{FEA0C040-3B5B-4ED6-94F9-D68EEB265B8E}" dt="2022-12-21T15:15:26.739" v="477" actId="478"/>
          <ac:picMkLst>
            <pc:docMk/>
            <pc:sldMk cId="3759024506" sldId="2551"/>
            <ac:picMk id="11" creationId="{1E818507-CCA6-D5DE-A57D-58B55D31A95F}"/>
          </ac:picMkLst>
        </pc:picChg>
      </pc:sldChg>
      <pc:sldChg chg="addSp delSp modSp add mod">
        <pc:chgData name="David Pastor Puyuelo" userId="4ba541ea-9651-41d4-862c-06544bb5ec7b" providerId="ADAL" clId="{FEA0C040-3B5B-4ED6-94F9-D68EEB265B8E}" dt="2022-12-21T15:16:06.073" v="500" actId="1076"/>
        <pc:sldMkLst>
          <pc:docMk/>
          <pc:sldMk cId="3651336210" sldId="2552"/>
        </pc:sldMkLst>
        <pc:picChg chg="del">
          <ac:chgData name="David Pastor Puyuelo" userId="4ba541ea-9651-41d4-862c-06544bb5ec7b" providerId="ADAL" clId="{FEA0C040-3B5B-4ED6-94F9-D68EEB265B8E}" dt="2022-12-21T15:15:54.048" v="494" actId="478"/>
          <ac:picMkLst>
            <pc:docMk/>
            <pc:sldMk cId="3651336210" sldId="2552"/>
            <ac:picMk id="4" creationId="{BEFA5A42-025D-2B84-E278-99515D321C6B}"/>
          </ac:picMkLst>
        </pc:picChg>
        <pc:picChg chg="add mod">
          <ac:chgData name="David Pastor Puyuelo" userId="4ba541ea-9651-41d4-862c-06544bb5ec7b" providerId="ADAL" clId="{FEA0C040-3B5B-4ED6-94F9-D68EEB265B8E}" dt="2022-12-21T15:16:06.073" v="500" actId="1076"/>
          <ac:picMkLst>
            <pc:docMk/>
            <pc:sldMk cId="3651336210" sldId="2552"/>
            <ac:picMk id="6" creationId="{404AC8D8-AD88-38BE-99DC-905B7D21E927}"/>
          </ac:picMkLst>
        </pc:picChg>
        <pc:picChg chg="del">
          <ac:chgData name="David Pastor Puyuelo" userId="4ba541ea-9651-41d4-862c-06544bb5ec7b" providerId="ADAL" clId="{FEA0C040-3B5B-4ED6-94F9-D68EEB265B8E}" dt="2022-12-21T15:15:53.685" v="493" actId="478"/>
          <ac:picMkLst>
            <pc:docMk/>
            <pc:sldMk cId="3651336210" sldId="2552"/>
            <ac:picMk id="10" creationId="{5C709541-8B0B-9315-7E22-16112B2C7202}"/>
          </ac:picMkLst>
        </pc:picChg>
      </pc:sldChg>
      <pc:sldChg chg="modSp add mod">
        <pc:chgData name="David Pastor Puyuelo" userId="4ba541ea-9651-41d4-862c-06544bb5ec7b" providerId="ADAL" clId="{FEA0C040-3B5B-4ED6-94F9-D68EEB265B8E}" dt="2022-12-21T15:17:32.081" v="531" actId="113"/>
        <pc:sldMkLst>
          <pc:docMk/>
          <pc:sldMk cId="1882142335" sldId="2553"/>
        </pc:sldMkLst>
        <pc:spChg chg="mod">
          <ac:chgData name="David Pastor Puyuelo" userId="4ba541ea-9651-41d4-862c-06544bb5ec7b" providerId="ADAL" clId="{FEA0C040-3B5B-4ED6-94F9-D68EEB265B8E}" dt="2022-12-21T15:17:32.081" v="531" actId="113"/>
          <ac:spMkLst>
            <pc:docMk/>
            <pc:sldMk cId="1882142335" sldId="2553"/>
            <ac:spMk id="20" creationId="{EE2EB87E-F264-4765-9C66-FE84E21A3B66}"/>
          </ac:spMkLst>
        </pc:spChg>
      </pc:sldChg>
      <pc:sldChg chg="modSp add mod">
        <pc:chgData name="David Pastor Puyuelo" userId="4ba541ea-9651-41d4-862c-06544bb5ec7b" providerId="ADAL" clId="{FEA0C040-3B5B-4ED6-94F9-D68EEB265B8E}" dt="2022-12-21T15:17:49.369" v="535" actId="113"/>
        <pc:sldMkLst>
          <pc:docMk/>
          <pc:sldMk cId="3080787302" sldId="2554"/>
        </pc:sldMkLst>
        <pc:spChg chg="mod">
          <ac:chgData name="David Pastor Puyuelo" userId="4ba541ea-9651-41d4-862c-06544bb5ec7b" providerId="ADAL" clId="{FEA0C040-3B5B-4ED6-94F9-D68EEB265B8E}" dt="2022-12-21T15:17:49.369" v="535" actId="113"/>
          <ac:spMkLst>
            <pc:docMk/>
            <pc:sldMk cId="3080787302" sldId="2554"/>
            <ac:spMk id="20" creationId="{EE2EB87E-F264-4765-9C66-FE84E21A3B66}"/>
          </ac:spMkLst>
        </pc:spChg>
      </pc:sldChg>
      <pc:sldChg chg="delSp modSp add del mod">
        <pc:chgData name="David Pastor Puyuelo" userId="4ba541ea-9651-41d4-862c-06544bb5ec7b" providerId="ADAL" clId="{FEA0C040-3B5B-4ED6-94F9-D68EEB265B8E}" dt="2022-12-21T15:18:58.082" v="551" actId="47"/>
        <pc:sldMkLst>
          <pc:docMk/>
          <pc:sldMk cId="2162942964" sldId="2555"/>
        </pc:sldMkLst>
        <pc:spChg chg="mod">
          <ac:chgData name="David Pastor Puyuelo" userId="4ba541ea-9651-41d4-862c-06544bb5ec7b" providerId="ADAL" clId="{FEA0C040-3B5B-4ED6-94F9-D68EEB265B8E}" dt="2022-12-21T15:18:01.266" v="539" actId="20577"/>
          <ac:spMkLst>
            <pc:docMk/>
            <pc:sldMk cId="2162942964" sldId="2555"/>
            <ac:spMk id="22" creationId="{6EA10ED2-50E3-40EA-8CC2-55F5E96A71E8}"/>
          </ac:spMkLst>
        </pc:spChg>
        <pc:spChg chg="mod">
          <ac:chgData name="David Pastor Puyuelo" userId="4ba541ea-9651-41d4-862c-06544bb5ec7b" providerId="ADAL" clId="{FEA0C040-3B5B-4ED6-94F9-D68EEB265B8E}" dt="2022-12-21T15:18:04.489" v="543" actId="20577"/>
          <ac:spMkLst>
            <pc:docMk/>
            <pc:sldMk cId="2162942964" sldId="2555"/>
            <ac:spMk id="28" creationId="{DD453CE2-6FED-4720-8043-DBD1D2185AE1}"/>
          </ac:spMkLst>
        </pc:spChg>
        <pc:picChg chg="del">
          <ac:chgData name="David Pastor Puyuelo" userId="4ba541ea-9651-41d4-862c-06544bb5ec7b" providerId="ADAL" clId="{FEA0C040-3B5B-4ED6-94F9-D68EEB265B8E}" dt="2022-12-21T15:17:55.594" v="537" actId="478"/>
          <ac:picMkLst>
            <pc:docMk/>
            <pc:sldMk cId="2162942964" sldId="2555"/>
            <ac:picMk id="6" creationId="{404AC8D8-AD88-38BE-99DC-905B7D21E927}"/>
          </ac:picMkLst>
        </pc:picChg>
      </pc:sldChg>
      <pc:sldMasterChg chg="addSp delSp modSp mod delSldLayout modSldLayout">
        <pc:chgData name="David Pastor Puyuelo" userId="4ba541ea-9651-41d4-862c-06544bb5ec7b" providerId="ADAL" clId="{FEA0C040-3B5B-4ED6-94F9-D68EEB265B8E}" dt="2022-12-21T14:57:12.487" v="101" actId="478"/>
        <pc:sldMasterMkLst>
          <pc:docMk/>
          <pc:sldMasterMk cId="2492669058" sldId="2147483778"/>
        </pc:sldMasterMkLst>
        <pc:graphicFrameChg chg="add del mod">
          <ac:chgData name="David Pastor Puyuelo" userId="4ba541ea-9651-41d4-862c-06544bb5ec7b" providerId="ADAL" clId="{FEA0C040-3B5B-4ED6-94F9-D68EEB265B8E}" dt="2022-12-21T14:54:56.474" v="70" actId="478"/>
          <ac:graphicFrameMkLst>
            <pc:docMk/>
            <pc:sldMasterMk cId="2492669058" sldId="2147483778"/>
            <ac:graphicFrameMk id="6" creationId="{5E78AE25-869E-255C-0824-3E4A86A4436F}"/>
          </ac:graphicFrameMkLst>
        </pc:graphicFrameChg>
        <pc:graphicFrameChg chg="add del mod">
          <ac:chgData name="David Pastor Puyuelo" userId="4ba541ea-9651-41d4-862c-06544bb5ec7b" providerId="ADAL" clId="{FEA0C040-3B5B-4ED6-94F9-D68EEB265B8E}" dt="2022-12-21T14:55:11.081" v="72" actId="478"/>
          <ac:graphicFrameMkLst>
            <pc:docMk/>
            <pc:sldMasterMk cId="2492669058" sldId="2147483778"/>
            <ac:graphicFrameMk id="7" creationId="{45FC1450-69BB-4901-4C34-1CFC8C422C2B}"/>
          </ac:graphicFrameMkLst>
        </pc:graphicFrameChg>
        <pc:picChg chg="del">
          <ac:chgData name="David Pastor Puyuelo" userId="4ba541ea-9651-41d4-862c-06544bb5ec7b" providerId="ADAL" clId="{FEA0C040-3B5B-4ED6-94F9-D68EEB265B8E}" dt="2022-12-21T14:54:43.284" v="63" actId="478"/>
          <ac:picMkLst>
            <pc:docMk/>
            <pc:sldMasterMk cId="2492669058" sldId="2147483778"/>
            <ac:picMk id="3" creationId="{7F7789EB-CD69-234A-89F8-7CDAF44C3C77}"/>
          </ac:picMkLst>
        </pc:picChg>
        <pc:picChg chg="add mod">
          <ac:chgData name="David Pastor Puyuelo" userId="4ba541ea-9651-41d4-862c-06544bb5ec7b" providerId="ADAL" clId="{FEA0C040-3B5B-4ED6-94F9-D68EEB265B8E}" dt="2022-12-21T14:54:49.804" v="68" actId="1076"/>
          <ac:picMkLst>
            <pc:docMk/>
            <pc:sldMasterMk cId="2492669058" sldId="2147483778"/>
            <ac:picMk id="5" creationId="{0C74F47A-48B6-2DB6-B976-74682EE1484C}"/>
          </ac:picMkLst>
        </pc:picChg>
        <pc:picChg chg="add mod">
          <ac:chgData name="David Pastor Puyuelo" userId="4ba541ea-9651-41d4-862c-06544bb5ec7b" providerId="ADAL" clId="{FEA0C040-3B5B-4ED6-94F9-D68EEB265B8E}" dt="2022-12-21T14:55:54.039" v="77" actId="1076"/>
          <ac:picMkLst>
            <pc:docMk/>
            <pc:sldMasterMk cId="2492669058" sldId="2147483778"/>
            <ac:picMk id="9" creationId="{63015B0A-815D-B058-8B2C-C1B1E7C41B7A}"/>
          </ac:picMkLst>
        </pc:picChg>
        <pc:picChg chg="del">
          <ac:chgData name="David Pastor Puyuelo" userId="4ba541ea-9651-41d4-862c-06544bb5ec7b" providerId="ADAL" clId="{FEA0C040-3B5B-4ED6-94F9-D68EEB265B8E}" dt="2022-12-21T14:54:43.869" v="64" actId="478"/>
          <ac:picMkLst>
            <pc:docMk/>
            <pc:sldMasterMk cId="2492669058" sldId="2147483778"/>
            <ac:picMk id="2051" creationId="{D9EB6399-2902-7D49-8ACD-2FFA3D5A23A6}"/>
          </ac:picMkLst>
        </pc:picChg>
        <pc:sldLayoutChg chg="del">
          <pc:chgData name="David Pastor Puyuelo" userId="4ba541ea-9651-41d4-862c-06544bb5ec7b" providerId="ADAL" clId="{FEA0C040-3B5B-4ED6-94F9-D68EEB265B8E}" dt="2022-12-21T14:56:04.036" v="78" actId="2696"/>
          <pc:sldLayoutMkLst>
            <pc:docMk/>
            <pc:sldMasterMk cId="2492669058" sldId="2147483778"/>
            <pc:sldLayoutMk cId="2488035845" sldId="2147483781"/>
          </pc:sldLayoutMkLst>
        </pc:sldLayoutChg>
        <pc:sldLayoutChg chg="del">
          <pc:chgData name="David Pastor Puyuelo" userId="4ba541ea-9651-41d4-862c-06544bb5ec7b" providerId="ADAL" clId="{FEA0C040-3B5B-4ED6-94F9-D68EEB265B8E}" dt="2022-12-21T14:56:04.964" v="79" actId="2696"/>
          <pc:sldLayoutMkLst>
            <pc:docMk/>
            <pc:sldMasterMk cId="2492669058" sldId="2147483778"/>
            <pc:sldLayoutMk cId="1811080280" sldId="2147483782"/>
          </pc:sldLayoutMkLst>
        </pc:sldLayoutChg>
        <pc:sldLayoutChg chg="del">
          <pc:chgData name="David Pastor Puyuelo" userId="4ba541ea-9651-41d4-862c-06544bb5ec7b" providerId="ADAL" clId="{FEA0C040-3B5B-4ED6-94F9-D68EEB265B8E}" dt="2022-12-21T14:56:07.139" v="80" actId="2696"/>
          <pc:sldLayoutMkLst>
            <pc:docMk/>
            <pc:sldMasterMk cId="2492669058" sldId="2147483778"/>
            <pc:sldLayoutMk cId="1786562040" sldId="2147483783"/>
          </pc:sldLayoutMkLst>
        </pc:sldLayoutChg>
        <pc:sldLayoutChg chg="del">
          <pc:chgData name="David Pastor Puyuelo" userId="4ba541ea-9651-41d4-862c-06544bb5ec7b" providerId="ADAL" clId="{FEA0C040-3B5B-4ED6-94F9-D68EEB265B8E}" dt="2022-12-21T14:56:14.822" v="81" actId="2696"/>
          <pc:sldLayoutMkLst>
            <pc:docMk/>
            <pc:sldMasterMk cId="2492669058" sldId="2147483778"/>
            <pc:sldLayoutMk cId="3106720672" sldId="2147483784"/>
          </pc:sldLayoutMkLst>
        </pc:sldLayoutChg>
        <pc:sldLayoutChg chg="addSp delSp modSp mod">
          <pc:chgData name="David Pastor Puyuelo" userId="4ba541ea-9651-41d4-862c-06544bb5ec7b" providerId="ADAL" clId="{FEA0C040-3B5B-4ED6-94F9-D68EEB265B8E}" dt="2022-12-21T14:57:12.487" v="101" actId="478"/>
          <pc:sldLayoutMkLst>
            <pc:docMk/>
            <pc:sldMasterMk cId="2492669058" sldId="2147483778"/>
            <pc:sldLayoutMk cId="3726484436" sldId="2147483785"/>
          </pc:sldLayoutMkLst>
          <pc:spChg chg="add del mod">
            <ac:chgData name="David Pastor Puyuelo" userId="4ba541ea-9651-41d4-862c-06544bb5ec7b" providerId="ADAL" clId="{FEA0C040-3B5B-4ED6-94F9-D68EEB265B8E}" dt="2022-12-21T14:57:12.487" v="101" actId="478"/>
            <ac:spMkLst>
              <pc:docMk/>
              <pc:sldMasterMk cId="2492669058" sldId="2147483778"/>
              <pc:sldLayoutMk cId="3726484436" sldId="2147483785"/>
              <ac:spMk id="2" creationId="{A93E865F-D496-8B4D-8CF1-3E73E0790FB7}"/>
            </ac:spMkLst>
          </pc:spChg>
          <pc:spChg chg="add del mod">
            <ac:chgData name="David Pastor Puyuelo" userId="4ba541ea-9651-41d4-862c-06544bb5ec7b" providerId="ADAL" clId="{FEA0C040-3B5B-4ED6-94F9-D68EEB265B8E}" dt="2022-12-21T14:57:09.329" v="99" actId="14100"/>
            <ac:spMkLst>
              <pc:docMk/>
              <pc:sldMasterMk cId="2492669058" sldId="2147483778"/>
              <pc:sldLayoutMk cId="3726484436" sldId="2147483785"/>
              <ac:spMk id="11" creationId="{769BA105-053E-5740-AF2E-3FB6E4155B5B}"/>
            </ac:spMkLst>
          </pc:spChg>
          <pc:picChg chg="add del mod">
            <ac:chgData name="David Pastor Puyuelo" userId="4ba541ea-9651-41d4-862c-06544bb5ec7b" providerId="ADAL" clId="{FEA0C040-3B5B-4ED6-94F9-D68EEB265B8E}" dt="2022-12-21T14:56:44.817" v="88"/>
            <ac:picMkLst>
              <pc:docMk/>
              <pc:sldMasterMk cId="2492669058" sldId="2147483778"/>
              <pc:sldLayoutMk cId="3726484436" sldId="2147483785"/>
              <ac:picMk id="4" creationId="{0F3647FB-09DD-D3C7-FD45-012BF1E42075}"/>
            </ac:picMkLst>
          </pc:picChg>
          <pc:picChg chg="add del mod">
            <ac:chgData name="David Pastor Puyuelo" userId="4ba541ea-9651-41d4-862c-06544bb5ec7b" providerId="ADAL" clId="{FEA0C040-3B5B-4ED6-94F9-D68EEB265B8E}" dt="2022-12-21T14:56:44.817" v="88"/>
            <ac:picMkLst>
              <pc:docMk/>
              <pc:sldMasterMk cId="2492669058" sldId="2147483778"/>
              <pc:sldLayoutMk cId="3726484436" sldId="2147483785"/>
              <ac:picMk id="5" creationId="{CD110E9C-D0C3-572A-176E-240D9B6B773B}"/>
            </ac:picMkLst>
          </pc:picChg>
          <pc:picChg chg="add mod">
            <ac:chgData name="David Pastor Puyuelo" userId="4ba541ea-9651-41d4-862c-06544bb5ec7b" providerId="ADAL" clId="{FEA0C040-3B5B-4ED6-94F9-D68EEB265B8E}" dt="2022-12-21T14:56:58.548" v="97"/>
            <ac:picMkLst>
              <pc:docMk/>
              <pc:sldMasterMk cId="2492669058" sldId="2147483778"/>
              <pc:sldLayoutMk cId="3726484436" sldId="2147483785"/>
              <ac:picMk id="6" creationId="{79AC43FD-2E8A-BEB1-29D0-AFF4B6A7DDB7}"/>
            </ac:picMkLst>
          </pc:picChg>
          <pc:picChg chg="add mod">
            <ac:chgData name="David Pastor Puyuelo" userId="4ba541ea-9651-41d4-862c-06544bb5ec7b" providerId="ADAL" clId="{FEA0C040-3B5B-4ED6-94F9-D68EEB265B8E}" dt="2022-12-21T14:56:58.548" v="97"/>
            <ac:picMkLst>
              <pc:docMk/>
              <pc:sldMasterMk cId="2492669058" sldId="2147483778"/>
              <pc:sldLayoutMk cId="3726484436" sldId="2147483785"/>
              <ac:picMk id="7" creationId="{30A722A7-163E-B667-A509-D4BFB7AA9F1C}"/>
            </ac:picMkLst>
          </pc:picChg>
          <pc:picChg chg="add del mod">
            <ac:chgData name="David Pastor Puyuelo" userId="4ba541ea-9651-41d4-862c-06544bb5ec7b" providerId="ADAL" clId="{FEA0C040-3B5B-4ED6-94F9-D68EEB265B8E}" dt="2022-12-21T14:56:57.245" v="95" actId="478"/>
            <ac:picMkLst>
              <pc:docMk/>
              <pc:sldMasterMk cId="2492669058" sldId="2147483778"/>
              <pc:sldLayoutMk cId="3726484436" sldId="2147483785"/>
              <ac:picMk id="9" creationId="{7DE5FA4C-86E1-A749-9D7A-E28EE59518AA}"/>
            </ac:picMkLst>
          </pc:picChg>
          <pc:picChg chg="add del mod">
            <ac:chgData name="David Pastor Puyuelo" userId="4ba541ea-9651-41d4-862c-06544bb5ec7b" providerId="ADAL" clId="{FEA0C040-3B5B-4ED6-94F9-D68EEB265B8E}" dt="2022-12-21T14:56:57.700" v="96" actId="478"/>
            <ac:picMkLst>
              <pc:docMk/>
              <pc:sldMasterMk cId="2492669058" sldId="2147483778"/>
              <pc:sldLayoutMk cId="3726484436" sldId="2147483785"/>
              <ac:picMk id="72710" creationId="{43A730AC-0B0B-8C47-8D32-9FDB10379A82}"/>
            </ac:picMkLst>
          </pc:picChg>
        </pc:sldLayoutChg>
      </pc:sldMasterChg>
    </pc:docChg>
  </pc:docChgLst>
  <pc:docChgLst>
    <pc:chgData name="David Pastor Puyuelo" userId="S::dpastopu@emeal.nttdata.com::4ba541ea-9651-41d4-862c-06544bb5ec7b" providerId="AD" clId="Web-{30773883-133B-8066-64B0-E196085B94B1}"/>
    <pc:docChg chg="modSld">
      <pc:chgData name="David Pastor Puyuelo" userId="S::dpastopu@emeal.nttdata.com::4ba541ea-9651-41d4-862c-06544bb5ec7b" providerId="AD" clId="Web-{30773883-133B-8066-64B0-E196085B94B1}" dt="2022-04-29T12:52:58.498" v="7" actId="14100"/>
      <pc:docMkLst>
        <pc:docMk/>
      </pc:docMkLst>
      <pc:sldChg chg="addSp delSp modSp">
        <pc:chgData name="David Pastor Puyuelo" userId="S::dpastopu@emeal.nttdata.com::4ba541ea-9651-41d4-862c-06544bb5ec7b" providerId="AD" clId="Web-{30773883-133B-8066-64B0-E196085B94B1}" dt="2022-04-29T12:52:58.498" v="7" actId="14100"/>
        <pc:sldMkLst>
          <pc:docMk/>
          <pc:sldMk cId="2485783394" sldId="2430"/>
        </pc:sldMkLst>
        <pc:picChg chg="del">
          <ac:chgData name="David Pastor Puyuelo" userId="S::dpastopu@emeal.nttdata.com::4ba541ea-9651-41d4-862c-06544bb5ec7b" providerId="AD" clId="Web-{30773883-133B-8066-64B0-E196085B94B1}" dt="2022-04-29T12:45:55.110" v="0"/>
          <ac:picMkLst>
            <pc:docMk/>
            <pc:sldMk cId="2485783394" sldId="2430"/>
            <ac:picMk id="2" creationId="{27BA2D3C-6FB2-8B9D-90F5-762316FEA31E}"/>
          </ac:picMkLst>
        </pc:picChg>
        <pc:picChg chg="add del mod">
          <ac:chgData name="David Pastor Puyuelo" userId="S::dpastopu@emeal.nttdata.com::4ba541ea-9651-41d4-862c-06544bb5ec7b" providerId="AD" clId="Web-{30773883-133B-8066-64B0-E196085B94B1}" dt="2022-04-29T12:52:52.013" v="4"/>
          <ac:picMkLst>
            <pc:docMk/>
            <pc:sldMk cId="2485783394" sldId="2430"/>
            <ac:picMk id="4" creationId="{527AA6AA-EAA4-8E01-436E-7F0F8C58EEE6}"/>
          </ac:picMkLst>
        </pc:picChg>
        <pc:picChg chg="add mod">
          <ac:chgData name="David Pastor Puyuelo" userId="S::dpastopu@emeal.nttdata.com::4ba541ea-9651-41d4-862c-06544bb5ec7b" providerId="AD" clId="Web-{30773883-133B-8066-64B0-E196085B94B1}" dt="2022-04-29T12:52:58.498" v="7" actId="14100"/>
          <ac:picMkLst>
            <pc:docMk/>
            <pc:sldMk cId="2485783394" sldId="2430"/>
            <ac:picMk id="7" creationId="{D1CBDD78-8092-B534-88BE-A8216E40FAE6}"/>
          </ac:picMkLst>
        </pc:picChg>
      </pc:sldChg>
    </pc:docChg>
  </pc:docChgLst>
  <pc:docChgLst>
    <pc:chgData name="Ciro Ignacio Atorrasagasti" userId="7cd334dc-3e87-4a2c-a876-1e7636282ec9" providerId="ADAL" clId="{4FE79E8F-1460-429A-BFF8-CF8BFB5AE885}"/>
    <pc:docChg chg="undo custSel modSld">
      <pc:chgData name="Ciro Ignacio Atorrasagasti" userId="7cd334dc-3e87-4a2c-a876-1e7636282ec9" providerId="ADAL" clId="{4FE79E8F-1460-429A-BFF8-CF8BFB5AE885}" dt="2022-01-31T11:53:53.893" v="671" actId="1076"/>
      <pc:docMkLst>
        <pc:docMk/>
      </pc:docMkLst>
      <pc:sldChg chg="addSp modSp">
        <pc:chgData name="Ciro Ignacio Atorrasagasti" userId="7cd334dc-3e87-4a2c-a876-1e7636282ec9" providerId="ADAL" clId="{4FE79E8F-1460-429A-BFF8-CF8BFB5AE885}" dt="2022-01-31T11:44:40.462" v="604"/>
        <pc:sldMkLst>
          <pc:docMk/>
          <pc:sldMk cId="0" sldId="259"/>
        </pc:sldMkLst>
        <pc:spChg chg="add mod">
          <ac:chgData name="Ciro Ignacio Atorrasagasti" userId="7cd334dc-3e87-4a2c-a876-1e7636282ec9" providerId="ADAL" clId="{4FE79E8F-1460-429A-BFF8-CF8BFB5AE885}" dt="2022-01-31T11:44:40.462" v="604"/>
          <ac:spMkLst>
            <pc:docMk/>
            <pc:sldMk cId="0" sldId="259"/>
            <ac:spMk id="29" creationId="{A91CCBEB-8E7A-442C-9060-E8374D99E894}"/>
          </ac:spMkLst>
        </pc:spChg>
      </pc:sldChg>
      <pc:sldChg chg="addSp modSp">
        <pc:chgData name="Ciro Ignacio Atorrasagasti" userId="7cd334dc-3e87-4a2c-a876-1e7636282ec9" providerId="ADAL" clId="{4FE79E8F-1460-429A-BFF8-CF8BFB5AE885}" dt="2022-01-31T11:44:48.909" v="606"/>
        <pc:sldMkLst>
          <pc:docMk/>
          <pc:sldMk cId="0" sldId="261"/>
        </pc:sldMkLst>
        <pc:spChg chg="add mod">
          <ac:chgData name="Ciro Ignacio Atorrasagasti" userId="7cd334dc-3e87-4a2c-a876-1e7636282ec9" providerId="ADAL" clId="{4FE79E8F-1460-429A-BFF8-CF8BFB5AE885}" dt="2022-01-31T11:44:48.909" v="606"/>
          <ac:spMkLst>
            <pc:docMk/>
            <pc:sldMk cId="0" sldId="261"/>
            <ac:spMk id="26" creationId="{606C5D57-44BC-4B0E-85CA-039773B5CD99}"/>
          </ac:spMkLst>
        </pc:spChg>
      </pc:sldChg>
      <pc:sldChg chg="addSp modSp">
        <pc:chgData name="Ciro Ignacio Atorrasagasti" userId="7cd334dc-3e87-4a2c-a876-1e7636282ec9" providerId="ADAL" clId="{4FE79E8F-1460-429A-BFF8-CF8BFB5AE885}" dt="2022-01-31T11:44:50.291" v="607"/>
        <pc:sldMkLst>
          <pc:docMk/>
          <pc:sldMk cId="0" sldId="262"/>
        </pc:sldMkLst>
        <pc:spChg chg="add mod">
          <ac:chgData name="Ciro Ignacio Atorrasagasti" userId="7cd334dc-3e87-4a2c-a876-1e7636282ec9" providerId="ADAL" clId="{4FE79E8F-1460-429A-BFF8-CF8BFB5AE885}" dt="2022-01-31T11:44:50.291" v="607"/>
          <ac:spMkLst>
            <pc:docMk/>
            <pc:sldMk cId="0" sldId="262"/>
            <ac:spMk id="27" creationId="{360B8B1E-9EFB-4A4B-98E3-EDEEDE5F99A1}"/>
          </ac:spMkLst>
        </pc:spChg>
      </pc:sldChg>
      <pc:sldChg chg="addSp modSp">
        <pc:chgData name="Ciro Ignacio Atorrasagasti" userId="7cd334dc-3e87-4a2c-a876-1e7636282ec9" providerId="ADAL" clId="{4FE79E8F-1460-429A-BFF8-CF8BFB5AE885}" dt="2022-01-31T11:44:51.811" v="608"/>
        <pc:sldMkLst>
          <pc:docMk/>
          <pc:sldMk cId="0" sldId="263"/>
        </pc:sldMkLst>
        <pc:spChg chg="add mod">
          <ac:chgData name="Ciro Ignacio Atorrasagasti" userId="7cd334dc-3e87-4a2c-a876-1e7636282ec9" providerId="ADAL" clId="{4FE79E8F-1460-429A-BFF8-CF8BFB5AE885}" dt="2022-01-31T11:44:51.811" v="608"/>
          <ac:spMkLst>
            <pc:docMk/>
            <pc:sldMk cId="0" sldId="263"/>
            <ac:spMk id="27" creationId="{275AF6BA-C347-4158-8214-57AABAF86FCE}"/>
          </ac:spMkLst>
        </pc:spChg>
      </pc:sldChg>
      <pc:sldChg chg="addSp modSp">
        <pc:chgData name="Ciro Ignacio Atorrasagasti" userId="7cd334dc-3e87-4a2c-a876-1e7636282ec9" providerId="ADAL" clId="{4FE79E8F-1460-429A-BFF8-CF8BFB5AE885}" dt="2022-01-31T11:44:53.662" v="609"/>
        <pc:sldMkLst>
          <pc:docMk/>
          <pc:sldMk cId="0" sldId="264"/>
        </pc:sldMkLst>
        <pc:spChg chg="add mod">
          <ac:chgData name="Ciro Ignacio Atorrasagasti" userId="7cd334dc-3e87-4a2c-a876-1e7636282ec9" providerId="ADAL" clId="{4FE79E8F-1460-429A-BFF8-CF8BFB5AE885}" dt="2022-01-31T11:44:53.662" v="609"/>
          <ac:spMkLst>
            <pc:docMk/>
            <pc:sldMk cId="0" sldId="264"/>
            <ac:spMk id="27" creationId="{D49609CB-E010-475F-95F3-BC4EFEACA94D}"/>
          </ac:spMkLst>
        </pc:spChg>
      </pc:sldChg>
      <pc:sldChg chg="addSp modSp">
        <pc:chgData name="Ciro Ignacio Atorrasagasti" userId="7cd334dc-3e87-4a2c-a876-1e7636282ec9" providerId="ADAL" clId="{4FE79E8F-1460-429A-BFF8-CF8BFB5AE885}" dt="2022-01-31T11:44:55.442" v="610"/>
        <pc:sldMkLst>
          <pc:docMk/>
          <pc:sldMk cId="0" sldId="265"/>
        </pc:sldMkLst>
        <pc:spChg chg="add mod">
          <ac:chgData name="Ciro Ignacio Atorrasagasti" userId="7cd334dc-3e87-4a2c-a876-1e7636282ec9" providerId="ADAL" clId="{4FE79E8F-1460-429A-BFF8-CF8BFB5AE885}" dt="2022-01-31T11:44:55.442" v="610"/>
          <ac:spMkLst>
            <pc:docMk/>
            <pc:sldMk cId="0" sldId="265"/>
            <ac:spMk id="28" creationId="{AB31E585-1C2F-44B8-B979-C70E49F8ED84}"/>
          </ac:spMkLst>
        </pc:spChg>
      </pc:sldChg>
      <pc:sldChg chg="addSp modSp">
        <pc:chgData name="Ciro Ignacio Atorrasagasti" userId="7cd334dc-3e87-4a2c-a876-1e7636282ec9" providerId="ADAL" clId="{4FE79E8F-1460-429A-BFF8-CF8BFB5AE885}" dt="2022-01-31T11:44:57.018" v="611"/>
        <pc:sldMkLst>
          <pc:docMk/>
          <pc:sldMk cId="0" sldId="266"/>
        </pc:sldMkLst>
        <pc:spChg chg="add mod">
          <ac:chgData name="Ciro Ignacio Atorrasagasti" userId="7cd334dc-3e87-4a2c-a876-1e7636282ec9" providerId="ADAL" clId="{4FE79E8F-1460-429A-BFF8-CF8BFB5AE885}" dt="2022-01-31T11:44:57.018" v="611"/>
          <ac:spMkLst>
            <pc:docMk/>
            <pc:sldMk cId="0" sldId="266"/>
            <ac:spMk id="28" creationId="{C6F5BB84-11FC-4037-A459-59A867C13FC1}"/>
          </ac:spMkLst>
        </pc:spChg>
      </pc:sldChg>
      <pc:sldChg chg="addSp modSp">
        <pc:chgData name="Ciro Ignacio Atorrasagasti" userId="7cd334dc-3e87-4a2c-a876-1e7636282ec9" providerId="ADAL" clId="{4FE79E8F-1460-429A-BFF8-CF8BFB5AE885}" dt="2022-01-31T11:44:58.794" v="612"/>
        <pc:sldMkLst>
          <pc:docMk/>
          <pc:sldMk cId="0" sldId="267"/>
        </pc:sldMkLst>
        <pc:spChg chg="add mod">
          <ac:chgData name="Ciro Ignacio Atorrasagasti" userId="7cd334dc-3e87-4a2c-a876-1e7636282ec9" providerId="ADAL" clId="{4FE79E8F-1460-429A-BFF8-CF8BFB5AE885}" dt="2022-01-31T11:44:58.794" v="612"/>
          <ac:spMkLst>
            <pc:docMk/>
            <pc:sldMk cId="0" sldId="267"/>
            <ac:spMk id="28" creationId="{F65628AA-3654-44B3-ACD8-88B657F6A3E0}"/>
          </ac:spMkLst>
        </pc:spChg>
      </pc:sldChg>
      <pc:sldChg chg="modSp mod">
        <pc:chgData name="Ciro Ignacio Atorrasagasti" userId="7cd334dc-3e87-4a2c-a876-1e7636282ec9" providerId="ADAL" clId="{4FE79E8F-1460-429A-BFF8-CF8BFB5AE885}" dt="2022-01-31T11:53:53.893" v="671" actId="1076"/>
        <pc:sldMkLst>
          <pc:docMk/>
          <pc:sldMk cId="2130383488" sldId="2229"/>
        </pc:sldMkLst>
        <pc:spChg chg="mod">
          <ac:chgData name="Ciro Ignacio Atorrasagasti" userId="7cd334dc-3e87-4a2c-a876-1e7636282ec9" providerId="ADAL" clId="{4FE79E8F-1460-429A-BFF8-CF8BFB5AE885}" dt="2022-01-28T13:08:04.762" v="151" actId="20577"/>
          <ac:spMkLst>
            <pc:docMk/>
            <pc:sldMk cId="2130383488" sldId="2229"/>
            <ac:spMk id="31" creationId="{66E0184F-2CEF-4353-B2BC-CA167E8BEF86}"/>
          </ac:spMkLst>
        </pc:spChg>
        <pc:spChg chg="mod">
          <ac:chgData name="Ciro Ignacio Atorrasagasti" userId="7cd334dc-3e87-4a2c-a876-1e7636282ec9" providerId="ADAL" clId="{4FE79E8F-1460-429A-BFF8-CF8BFB5AE885}" dt="2022-01-31T11:53:50.820" v="670" actId="1076"/>
          <ac:spMkLst>
            <pc:docMk/>
            <pc:sldMk cId="2130383488" sldId="2229"/>
            <ac:spMk id="33" creationId="{B6E9BFF1-E395-46D9-8FDD-EA9B1ED69340}"/>
          </ac:spMkLst>
        </pc:spChg>
        <pc:spChg chg="mod">
          <ac:chgData name="Ciro Ignacio Atorrasagasti" userId="7cd334dc-3e87-4a2c-a876-1e7636282ec9" providerId="ADAL" clId="{4FE79E8F-1460-429A-BFF8-CF8BFB5AE885}" dt="2022-01-28T12:41:56.843" v="80" actId="20577"/>
          <ac:spMkLst>
            <pc:docMk/>
            <pc:sldMk cId="2130383488" sldId="2229"/>
            <ac:spMk id="35" creationId="{361A26EF-C517-4748-8EFA-6EDA14A7F2A2}"/>
          </ac:spMkLst>
        </pc:spChg>
        <pc:picChg chg="mod">
          <ac:chgData name="Ciro Ignacio Atorrasagasti" userId="7cd334dc-3e87-4a2c-a876-1e7636282ec9" providerId="ADAL" clId="{4FE79E8F-1460-429A-BFF8-CF8BFB5AE885}" dt="2022-01-31T11:53:53.893" v="671" actId="1076"/>
          <ac:picMkLst>
            <pc:docMk/>
            <pc:sldMk cId="2130383488" sldId="2229"/>
            <ac:picMk id="34" creationId="{6F37D2B0-0136-4E37-B4EE-4BCBA331A399}"/>
          </ac:picMkLst>
        </pc:picChg>
        <pc:picChg chg="mod">
          <ac:chgData name="Ciro Ignacio Atorrasagasti" userId="7cd334dc-3e87-4a2c-a876-1e7636282ec9" providerId="ADAL" clId="{4FE79E8F-1460-429A-BFF8-CF8BFB5AE885}" dt="2022-01-28T12:41:35.521" v="4" actId="1036"/>
          <ac:picMkLst>
            <pc:docMk/>
            <pc:sldMk cId="2130383488" sldId="2229"/>
            <ac:picMk id="36" creationId="{1C205EB0-70E8-4529-936B-4C23B55BE3FF}"/>
          </ac:picMkLst>
        </pc:picChg>
      </pc:sldChg>
      <pc:sldChg chg="addSp delSp modSp mod">
        <pc:chgData name="Ciro Ignacio Atorrasagasti" userId="7cd334dc-3e87-4a2c-a876-1e7636282ec9" providerId="ADAL" clId="{4FE79E8F-1460-429A-BFF8-CF8BFB5AE885}" dt="2022-01-31T11:44:32.103" v="603" actId="478"/>
        <pc:sldMkLst>
          <pc:docMk/>
          <pc:sldMk cId="1488764402" sldId="2247"/>
        </pc:sldMkLst>
        <pc:spChg chg="add del mod">
          <ac:chgData name="Ciro Ignacio Atorrasagasti" userId="7cd334dc-3e87-4a2c-a876-1e7636282ec9" providerId="ADAL" clId="{4FE79E8F-1460-429A-BFF8-CF8BFB5AE885}" dt="2022-01-31T11:44:32.103" v="603" actId="478"/>
          <ac:spMkLst>
            <pc:docMk/>
            <pc:sldMk cId="1488764402" sldId="2247"/>
            <ac:spMk id="38" creationId="{E128010C-33E9-4F2E-BDAA-BE6460F09ADA}"/>
          </ac:spMkLst>
        </pc:spChg>
      </pc:sldChg>
      <pc:sldChg chg="modSp mod">
        <pc:chgData name="Ciro Ignacio Atorrasagasti" userId="7cd334dc-3e87-4a2c-a876-1e7636282ec9" providerId="ADAL" clId="{4FE79E8F-1460-429A-BFF8-CF8BFB5AE885}" dt="2022-01-31T11:50:33.748" v="660" actId="1076"/>
        <pc:sldMkLst>
          <pc:docMk/>
          <pc:sldMk cId="2033842533" sldId="2261"/>
        </pc:sldMkLst>
        <pc:spChg chg="mod">
          <ac:chgData name="Ciro Ignacio Atorrasagasti" userId="7cd334dc-3e87-4a2c-a876-1e7636282ec9" providerId="ADAL" clId="{4FE79E8F-1460-429A-BFF8-CF8BFB5AE885}" dt="2022-01-31T11:50:11.420" v="659" actId="20577"/>
          <ac:spMkLst>
            <pc:docMk/>
            <pc:sldMk cId="2033842533" sldId="2261"/>
            <ac:spMk id="29" creationId="{FCE94EF3-FC33-47C0-9EBA-C4C5A3F3CE30}"/>
          </ac:spMkLst>
        </pc:spChg>
        <pc:spChg chg="mod">
          <ac:chgData name="Ciro Ignacio Atorrasagasti" userId="7cd334dc-3e87-4a2c-a876-1e7636282ec9" providerId="ADAL" clId="{4FE79E8F-1460-429A-BFF8-CF8BFB5AE885}" dt="2022-01-28T12:48:22.999" v="135" actId="20577"/>
          <ac:spMkLst>
            <pc:docMk/>
            <pc:sldMk cId="2033842533" sldId="2261"/>
            <ac:spMk id="37" creationId="{9E1538F6-D9DF-4591-BEF9-261CF3134DC6}"/>
          </ac:spMkLst>
        </pc:spChg>
        <pc:picChg chg="mod">
          <ac:chgData name="Ciro Ignacio Atorrasagasti" userId="7cd334dc-3e87-4a2c-a876-1e7636282ec9" providerId="ADAL" clId="{4FE79E8F-1460-429A-BFF8-CF8BFB5AE885}" dt="2022-01-31T11:50:33.748" v="660" actId="1076"/>
          <ac:picMkLst>
            <pc:docMk/>
            <pc:sldMk cId="2033842533" sldId="2261"/>
            <ac:picMk id="30" creationId="{E743FBCC-AA56-4A30-873A-0EB06F0B9582}"/>
          </ac:picMkLst>
        </pc:picChg>
      </pc:sldChg>
      <pc:sldChg chg="addSp modSp mod">
        <pc:chgData name="Ciro Ignacio Atorrasagasti" userId="7cd334dc-3e87-4a2c-a876-1e7636282ec9" providerId="ADAL" clId="{4FE79E8F-1460-429A-BFF8-CF8BFB5AE885}" dt="2022-01-31T11:50:38.080" v="661"/>
        <pc:sldMkLst>
          <pc:docMk/>
          <pc:sldMk cId="609509282" sldId="2262"/>
        </pc:sldMkLst>
        <pc:spChg chg="mod">
          <ac:chgData name="Ciro Ignacio Atorrasagasti" userId="7cd334dc-3e87-4a2c-a876-1e7636282ec9" providerId="ADAL" clId="{4FE79E8F-1460-429A-BFF8-CF8BFB5AE885}" dt="2022-01-28T13:09:51.203" v="220" actId="20577"/>
          <ac:spMkLst>
            <pc:docMk/>
            <pc:sldMk cId="609509282" sldId="2262"/>
            <ac:spMk id="33" creationId="{56941277-5E8F-4F87-90D9-8A9E478D78D0}"/>
          </ac:spMkLst>
        </pc:spChg>
        <pc:spChg chg="add mod">
          <ac:chgData name="Ciro Ignacio Atorrasagasti" userId="7cd334dc-3e87-4a2c-a876-1e7636282ec9" providerId="ADAL" clId="{4FE79E8F-1460-429A-BFF8-CF8BFB5AE885}" dt="2022-01-31T11:50:38.080" v="661"/>
          <ac:spMkLst>
            <pc:docMk/>
            <pc:sldMk cId="609509282" sldId="2262"/>
            <ac:spMk id="38" creationId="{0C2059A7-3A94-4791-BAEA-B20117AA89AA}"/>
          </ac:spMkLst>
        </pc:spChg>
        <pc:picChg chg="add mod">
          <ac:chgData name="Ciro Ignacio Atorrasagasti" userId="7cd334dc-3e87-4a2c-a876-1e7636282ec9" providerId="ADAL" clId="{4FE79E8F-1460-429A-BFF8-CF8BFB5AE885}" dt="2022-01-31T11:50:38.080" v="661"/>
          <ac:picMkLst>
            <pc:docMk/>
            <pc:sldMk cId="609509282" sldId="2262"/>
            <ac:picMk id="40" creationId="{E60CA621-4138-4260-BC3F-667209F710CF}"/>
          </ac:picMkLst>
        </pc:picChg>
      </pc:sldChg>
      <pc:sldChg chg="addSp modSp mod">
        <pc:chgData name="Ciro Ignacio Atorrasagasti" userId="7cd334dc-3e87-4a2c-a876-1e7636282ec9" providerId="ADAL" clId="{4FE79E8F-1460-429A-BFF8-CF8BFB5AE885}" dt="2022-01-31T11:44:07.703" v="599" actId="1076"/>
        <pc:sldMkLst>
          <pc:docMk/>
          <pc:sldMk cId="805684310" sldId="2278"/>
        </pc:sldMkLst>
        <pc:spChg chg="add mod">
          <ac:chgData name="Ciro Ignacio Atorrasagasti" userId="7cd334dc-3e87-4a2c-a876-1e7636282ec9" providerId="ADAL" clId="{4FE79E8F-1460-429A-BFF8-CF8BFB5AE885}" dt="2022-01-31T11:44:07.703" v="599" actId="1076"/>
          <ac:spMkLst>
            <pc:docMk/>
            <pc:sldMk cId="805684310" sldId="2278"/>
            <ac:spMk id="14" creationId="{8078FE4B-692B-40A9-AECA-30D1A2EC934F}"/>
          </ac:spMkLst>
        </pc:spChg>
      </pc:sldChg>
      <pc:sldChg chg="modSp mod">
        <pc:chgData name="Ciro Ignacio Atorrasagasti" userId="7cd334dc-3e87-4a2c-a876-1e7636282ec9" providerId="ADAL" clId="{4FE79E8F-1460-429A-BFF8-CF8BFB5AE885}" dt="2022-01-28T13:03:09.420" v="147" actId="1076"/>
        <pc:sldMkLst>
          <pc:docMk/>
          <pc:sldMk cId="2312459569" sldId="2294"/>
        </pc:sldMkLst>
        <pc:spChg chg="mod">
          <ac:chgData name="Ciro Ignacio Atorrasagasti" userId="7cd334dc-3e87-4a2c-a876-1e7636282ec9" providerId="ADAL" clId="{4FE79E8F-1460-429A-BFF8-CF8BFB5AE885}" dt="2022-01-28T13:02:26.493" v="136" actId="20577"/>
          <ac:spMkLst>
            <pc:docMk/>
            <pc:sldMk cId="2312459569" sldId="2294"/>
            <ac:spMk id="17" creationId="{C6B56936-F95C-4352-B4BF-66B6DC98177E}"/>
          </ac:spMkLst>
        </pc:spChg>
        <pc:spChg chg="mod">
          <ac:chgData name="Ciro Ignacio Atorrasagasti" userId="7cd334dc-3e87-4a2c-a876-1e7636282ec9" providerId="ADAL" clId="{4FE79E8F-1460-429A-BFF8-CF8BFB5AE885}" dt="2022-01-28T13:03:02.829" v="146" actId="20577"/>
          <ac:spMkLst>
            <pc:docMk/>
            <pc:sldMk cId="2312459569" sldId="2294"/>
            <ac:spMk id="101" creationId="{A2290C29-1DFB-4941-9A7F-2708CE26401B}"/>
          </ac:spMkLst>
        </pc:spChg>
        <pc:picChg chg="mod">
          <ac:chgData name="Ciro Ignacio Atorrasagasti" userId="7cd334dc-3e87-4a2c-a876-1e7636282ec9" providerId="ADAL" clId="{4FE79E8F-1460-429A-BFF8-CF8BFB5AE885}" dt="2022-01-28T13:03:09.420" v="147" actId="1076"/>
          <ac:picMkLst>
            <pc:docMk/>
            <pc:sldMk cId="2312459569" sldId="2294"/>
            <ac:picMk id="102" creationId="{C5703877-E2F9-4FCD-B977-4ACBF720088B}"/>
          </ac:picMkLst>
        </pc:picChg>
      </pc:sldChg>
      <pc:sldChg chg="modSp mod">
        <pc:chgData name="Ciro Ignacio Atorrasagasti" userId="7cd334dc-3e87-4a2c-a876-1e7636282ec9" providerId="ADAL" clId="{4FE79E8F-1460-429A-BFF8-CF8BFB5AE885}" dt="2022-01-31T09:56:23.965" v="326" actId="20577"/>
        <pc:sldMkLst>
          <pc:docMk/>
          <pc:sldMk cId="2678309710" sldId="2322"/>
        </pc:sldMkLst>
        <pc:spChg chg="mod">
          <ac:chgData name="Ciro Ignacio Atorrasagasti" userId="7cd334dc-3e87-4a2c-a876-1e7636282ec9" providerId="ADAL" clId="{4FE79E8F-1460-429A-BFF8-CF8BFB5AE885}" dt="2022-01-31T09:56:23.965" v="326" actId="20577"/>
          <ac:spMkLst>
            <pc:docMk/>
            <pc:sldMk cId="2678309710" sldId="2322"/>
            <ac:spMk id="39" creationId="{994F0FEA-AC79-41A3-8F20-E2707DA89D95}"/>
          </ac:spMkLst>
        </pc:spChg>
      </pc:sldChg>
      <pc:sldChg chg="addSp modSp mod">
        <pc:chgData name="Ciro Ignacio Atorrasagasti" userId="7cd334dc-3e87-4a2c-a876-1e7636282ec9" providerId="ADAL" clId="{4FE79E8F-1460-429A-BFF8-CF8BFB5AE885}" dt="2022-01-31T10:02:23.572" v="597" actId="20577"/>
        <pc:sldMkLst>
          <pc:docMk/>
          <pc:sldMk cId="1317625792" sldId="2366"/>
        </pc:sldMkLst>
        <pc:spChg chg="mod">
          <ac:chgData name="Ciro Ignacio Atorrasagasti" userId="7cd334dc-3e87-4a2c-a876-1e7636282ec9" providerId="ADAL" clId="{4FE79E8F-1460-429A-BFF8-CF8BFB5AE885}" dt="2022-01-28T12:47:31.477" v="126" actId="1076"/>
          <ac:spMkLst>
            <pc:docMk/>
            <pc:sldMk cId="1317625792" sldId="2366"/>
            <ac:spMk id="26" creationId="{D4B9C8B2-F4ED-45A0-821F-07A8AE8FFC4E}"/>
          </ac:spMkLst>
        </pc:spChg>
        <pc:spChg chg="mod">
          <ac:chgData name="Ciro Ignacio Atorrasagasti" userId="7cd334dc-3e87-4a2c-a876-1e7636282ec9" providerId="ADAL" clId="{4FE79E8F-1460-429A-BFF8-CF8BFB5AE885}" dt="2022-01-31T10:02:23.572" v="597" actId="20577"/>
          <ac:spMkLst>
            <pc:docMk/>
            <pc:sldMk cId="1317625792" sldId="2366"/>
            <ac:spMk id="29" creationId="{8A9BFAC8-FDA5-4681-B6CE-E84AE12FAB1D}"/>
          </ac:spMkLst>
        </pc:spChg>
        <pc:spChg chg="add mod">
          <ac:chgData name="Ciro Ignacio Atorrasagasti" userId="7cd334dc-3e87-4a2c-a876-1e7636282ec9" providerId="ADAL" clId="{4FE79E8F-1460-429A-BFF8-CF8BFB5AE885}" dt="2022-01-28T12:47:38.989" v="128" actId="14100"/>
          <ac:spMkLst>
            <pc:docMk/>
            <pc:sldMk cId="1317625792" sldId="2366"/>
            <ac:spMk id="35" creationId="{EF9D1A0D-51AC-471F-9AD8-252B55EB6FE9}"/>
          </ac:spMkLst>
        </pc:spChg>
        <pc:spChg chg="mod">
          <ac:chgData name="Ciro Ignacio Atorrasagasti" userId="7cd334dc-3e87-4a2c-a876-1e7636282ec9" providerId="ADAL" clId="{4FE79E8F-1460-429A-BFF8-CF8BFB5AE885}" dt="2022-01-28T13:09:14.710" v="205" actId="20577"/>
          <ac:spMkLst>
            <pc:docMk/>
            <pc:sldMk cId="1317625792" sldId="2366"/>
            <ac:spMk id="82" creationId="{49F74498-FAD4-4447-9537-12978A38F5A4}"/>
          </ac:spMkLst>
        </pc:spChg>
        <pc:picChg chg="mod">
          <ac:chgData name="Ciro Ignacio Atorrasagasti" userId="7cd334dc-3e87-4a2c-a876-1e7636282ec9" providerId="ADAL" clId="{4FE79E8F-1460-429A-BFF8-CF8BFB5AE885}" dt="2022-01-28T12:47:31.477" v="126" actId="1076"/>
          <ac:picMkLst>
            <pc:docMk/>
            <pc:sldMk cId="1317625792" sldId="2366"/>
            <ac:picMk id="27" creationId="{3AF3101A-6361-4BF1-BD83-E2A6E47BB040}"/>
          </ac:picMkLst>
        </pc:picChg>
        <pc:picChg chg="mod">
          <ac:chgData name="Ciro Ignacio Atorrasagasti" userId="7cd334dc-3e87-4a2c-a876-1e7636282ec9" providerId="ADAL" clId="{4FE79E8F-1460-429A-BFF8-CF8BFB5AE885}" dt="2022-01-31T10:01:43.970" v="573" actId="1076"/>
          <ac:picMkLst>
            <pc:docMk/>
            <pc:sldMk cId="1317625792" sldId="2366"/>
            <ac:picMk id="30" creationId="{39195355-EFF2-4168-BD46-E513A84F3557}"/>
          </ac:picMkLst>
        </pc:picChg>
        <pc:picChg chg="add mod">
          <ac:chgData name="Ciro Ignacio Atorrasagasti" userId="7cd334dc-3e87-4a2c-a876-1e7636282ec9" providerId="ADAL" clId="{4FE79E8F-1460-429A-BFF8-CF8BFB5AE885}" dt="2022-01-28T12:47:35.829" v="127" actId="14100"/>
          <ac:picMkLst>
            <pc:docMk/>
            <pc:sldMk cId="1317625792" sldId="2366"/>
            <ac:picMk id="36" creationId="{EAE96279-D402-4CFF-9706-A01196FAB4BC}"/>
          </ac:picMkLst>
        </pc:picChg>
      </pc:sldChg>
      <pc:sldChg chg="modSp mod">
        <pc:chgData name="Ciro Ignacio Atorrasagasti" userId="7cd334dc-3e87-4a2c-a876-1e7636282ec9" providerId="ADAL" clId="{4FE79E8F-1460-429A-BFF8-CF8BFB5AE885}" dt="2022-01-31T11:49:19.838" v="642" actId="20577"/>
        <pc:sldMkLst>
          <pc:docMk/>
          <pc:sldMk cId="396485121" sldId="2373"/>
        </pc:sldMkLst>
        <pc:spChg chg="mod">
          <ac:chgData name="Ciro Ignacio Atorrasagasti" userId="7cd334dc-3e87-4a2c-a876-1e7636282ec9" providerId="ADAL" clId="{4FE79E8F-1460-429A-BFF8-CF8BFB5AE885}" dt="2022-01-31T11:47:04.348" v="622" actId="1076"/>
          <ac:spMkLst>
            <pc:docMk/>
            <pc:sldMk cId="396485121" sldId="2373"/>
            <ac:spMk id="2" creationId="{8C908E9A-BBF2-43B9-9D51-14684EC69696}"/>
          </ac:spMkLst>
        </pc:spChg>
        <pc:spChg chg="mod">
          <ac:chgData name="Ciro Ignacio Atorrasagasti" userId="7cd334dc-3e87-4a2c-a876-1e7636282ec9" providerId="ADAL" clId="{4FE79E8F-1460-429A-BFF8-CF8BFB5AE885}" dt="2022-01-28T13:08:52.080" v="192" actId="5793"/>
          <ac:spMkLst>
            <pc:docMk/>
            <pc:sldMk cId="396485121" sldId="2373"/>
            <ac:spMk id="94" creationId="{6CF21460-EFCB-411A-B577-9CB3BE4BA56F}"/>
          </ac:spMkLst>
        </pc:spChg>
        <pc:spChg chg="mod">
          <ac:chgData name="Ciro Ignacio Atorrasagasti" userId="7cd334dc-3e87-4a2c-a876-1e7636282ec9" providerId="ADAL" clId="{4FE79E8F-1460-429A-BFF8-CF8BFB5AE885}" dt="2022-01-31T11:49:19.838" v="642" actId="20577"/>
          <ac:spMkLst>
            <pc:docMk/>
            <pc:sldMk cId="396485121" sldId="2373"/>
            <ac:spMk id="106" creationId="{777EA4AB-8879-4C34-A575-C27039818029}"/>
          </ac:spMkLst>
        </pc:spChg>
        <pc:picChg chg="mod">
          <ac:chgData name="Ciro Ignacio Atorrasagasti" userId="7cd334dc-3e87-4a2c-a876-1e7636282ec9" providerId="ADAL" clId="{4FE79E8F-1460-429A-BFF8-CF8BFB5AE885}" dt="2022-01-31T11:47:02.045" v="621" actId="1076"/>
          <ac:picMkLst>
            <pc:docMk/>
            <pc:sldMk cId="396485121" sldId="2373"/>
            <ac:picMk id="107" creationId="{F9B63446-CD45-41D5-84DB-97FEAB4EF645}"/>
          </ac:picMkLst>
        </pc:picChg>
      </pc:sldChg>
      <pc:sldChg chg="modSp mod">
        <pc:chgData name="Ciro Ignacio Atorrasagasti" userId="7cd334dc-3e87-4a2c-a876-1e7636282ec9" providerId="ADAL" clId="{4FE79E8F-1460-429A-BFF8-CF8BFB5AE885}" dt="2022-01-31T11:48:37.956" v="634" actId="14100"/>
        <pc:sldMkLst>
          <pc:docMk/>
          <pc:sldMk cId="1021200000" sldId="2377"/>
        </pc:sldMkLst>
        <pc:spChg chg="mod">
          <ac:chgData name="Ciro Ignacio Atorrasagasti" userId="7cd334dc-3e87-4a2c-a876-1e7636282ec9" providerId="ADAL" clId="{4FE79E8F-1460-429A-BFF8-CF8BFB5AE885}" dt="2022-01-31T11:48:37.956" v="634" actId="14100"/>
          <ac:spMkLst>
            <pc:docMk/>
            <pc:sldMk cId="1021200000" sldId="2377"/>
            <ac:spMk id="235" creationId="{829FDB1D-DA4A-4ACD-BB82-CABF98828985}"/>
          </ac:spMkLst>
        </pc:spChg>
        <pc:picChg chg="mod">
          <ac:chgData name="Ciro Ignacio Atorrasagasti" userId="7cd334dc-3e87-4a2c-a876-1e7636282ec9" providerId="ADAL" clId="{4FE79E8F-1460-429A-BFF8-CF8BFB5AE885}" dt="2022-01-28T12:42:20.174" v="83" actId="1076"/>
          <ac:picMkLst>
            <pc:docMk/>
            <pc:sldMk cId="1021200000" sldId="2377"/>
            <ac:picMk id="236" creationId="{26547A06-2677-470F-9469-67113DA9ACCB}"/>
          </ac:picMkLst>
        </pc:picChg>
      </pc:sldChg>
      <pc:sldChg chg="addSp modSp mod">
        <pc:chgData name="Ciro Ignacio Atorrasagasti" userId="7cd334dc-3e87-4a2c-a876-1e7636282ec9" providerId="ADAL" clId="{4FE79E8F-1460-429A-BFF8-CF8BFB5AE885}" dt="2022-01-31T11:49:05.691" v="640" actId="20577"/>
        <pc:sldMkLst>
          <pc:docMk/>
          <pc:sldMk cId="3730063948" sldId="2385"/>
        </pc:sldMkLst>
        <pc:spChg chg="add mod">
          <ac:chgData name="Ciro Ignacio Atorrasagasti" userId="7cd334dc-3e87-4a2c-a876-1e7636282ec9" providerId="ADAL" clId="{4FE79E8F-1460-429A-BFF8-CF8BFB5AE885}" dt="2022-01-28T12:45:58.710" v="116" actId="1076"/>
          <ac:spMkLst>
            <pc:docMk/>
            <pc:sldMk cId="3730063948" sldId="2385"/>
            <ac:spMk id="31" creationId="{7FC4CB85-FF39-40A9-99B2-ADEDECA8619F}"/>
          </ac:spMkLst>
        </pc:spChg>
        <pc:spChg chg="mod">
          <ac:chgData name="Ciro Ignacio Atorrasagasti" userId="7cd334dc-3e87-4a2c-a876-1e7636282ec9" providerId="ADAL" clId="{4FE79E8F-1460-429A-BFF8-CF8BFB5AE885}" dt="2022-01-31T11:49:05.691" v="640" actId="20577"/>
          <ac:spMkLst>
            <pc:docMk/>
            <pc:sldMk cId="3730063948" sldId="2385"/>
            <ac:spMk id="240" creationId="{82BC7488-7E6A-4BE9-B4AD-8FF4582B44B7}"/>
          </ac:spMkLst>
        </pc:spChg>
        <pc:picChg chg="add mod">
          <ac:chgData name="Ciro Ignacio Atorrasagasti" userId="7cd334dc-3e87-4a2c-a876-1e7636282ec9" providerId="ADAL" clId="{4FE79E8F-1460-429A-BFF8-CF8BFB5AE885}" dt="2022-01-28T12:46:02.422" v="117" actId="1076"/>
          <ac:picMkLst>
            <pc:docMk/>
            <pc:sldMk cId="3730063948" sldId="2385"/>
            <ac:picMk id="32" creationId="{9AD66BAC-3ED5-460C-B591-DDD3630D8980}"/>
          </ac:picMkLst>
        </pc:picChg>
      </pc:sldChg>
      <pc:sldChg chg="addSp modSp mod">
        <pc:chgData name="Ciro Ignacio Atorrasagasti" userId="7cd334dc-3e87-4a2c-a876-1e7636282ec9" providerId="ADAL" clId="{4FE79E8F-1460-429A-BFF8-CF8BFB5AE885}" dt="2022-01-31T11:49:42.525" v="652" actId="20577"/>
        <pc:sldMkLst>
          <pc:docMk/>
          <pc:sldMk cId="1164617817" sldId="2387"/>
        </pc:sldMkLst>
        <pc:spChg chg="add mod">
          <ac:chgData name="Ciro Ignacio Atorrasagasti" userId="7cd334dc-3e87-4a2c-a876-1e7636282ec9" providerId="ADAL" clId="{4FE79E8F-1460-429A-BFF8-CF8BFB5AE885}" dt="2022-01-28T12:46:58.354" v="118"/>
          <ac:spMkLst>
            <pc:docMk/>
            <pc:sldMk cId="1164617817" sldId="2387"/>
            <ac:spMk id="30" creationId="{2FD98BD0-E69A-4747-A698-70C609E007C2}"/>
          </ac:spMkLst>
        </pc:spChg>
        <pc:spChg chg="mod">
          <ac:chgData name="Ciro Ignacio Atorrasagasti" userId="7cd334dc-3e87-4a2c-a876-1e7636282ec9" providerId="ADAL" clId="{4FE79E8F-1460-429A-BFF8-CF8BFB5AE885}" dt="2022-01-31T11:49:42.525" v="652" actId="20577"/>
          <ac:spMkLst>
            <pc:docMk/>
            <pc:sldMk cId="1164617817" sldId="2387"/>
            <ac:spMk id="83" creationId="{291C7FF3-6E08-4860-A8FA-3012B6C3D582}"/>
          </ac:spMkLst>
        </pc:spChg>
        <pc:picChg chg="add mod">
          <ac:chgData name="Ciro Ignacio Atorrasagasti" userId="7cd334dc-3e87-4a2c-a876-1e7636282ec9" providerId="ADAL" clId="{4FE79E8F-1460-429A-BFF8-CF8BFB5AE885}" dt="2022-01-28T12:46:58.354" v="118"/>
          <ac:picMkLst>
            <pc:docMk/>
            <pc:sldMk cId="1164617817" sldId="2387"/>
            <ac:picMk id="31" creationId="{497FB3A2-0ACE-46A3-8E74-33B4E3A7488E}"/>
          </ac:picMkLst>
        </pc:picChg>
      </pc:sldChg>
      <pc:sldChg chg="addSp modSp">
        <pc:chgData name="Ciro Ignacio Atorrasagasti" userId="7cd334dc-3e87-4a2c-a876-1e7636282ec9" providerId="ADAL" clId="{4FE79E8F-1460-429A-BFF8-CF8BFB5AE885}" dt="2022-01-31T11:44:46.474" v="605"/>
        <pc:sldMkLst>
          <pc:docMk/>
          <pc:sldMk cId="344171363" sldId="2439"/>
        </pc:sldMkLst>
        <pc:spChg chg="add mod">
          <ac:chgData name="Ciro Ignacio Atorrasagasti" userId="7cd334dc-3e87-4a2c-a876-1e7636282ec9" providerId="ADAL" clId="{4FE79E8F-1460-429A-BFF8-CF8BFB5AE885}" dt="2022-01-31T11:44:46.474" v="605"/>
          <ac:spMkLst>
            <pc:docMk/>
            <pc:sldMk cId="344171363" sldId="2439"/>
            <ac:spMk id="27" creationId="{EAE8CD20-D383-494E-84FF-D70D0837CD2E}"/>
          </ac:spMkLst>
        </pc:spChg>
      </pc:sldChg>
    </pc:docChg>
  </pc:docChgLst>
  <pc:docChgLst>
    <pc:chgData name="Ana Isabel Silla Cortes" userId="S::asillaco@emeal.nttdata.com::b546b5c1-2aeb-468b-a361-4830835db4b0" providerId="AD" clId="Web-{C0185FE8-06B0-4024-B796-B1668C961A76}"/>
    <pc:docChg chg="modSld">
      <pc:chgData name="Ana Isabel Silla Cortes" userId="S::asillaco@emeal.nttdata.com::b546b5c1-2aeb-468b-a361-4830835db4b0" providerId="AD" clId="Web-{C0185FE8-06B0-4024-B796-B1668C961A76}" dt="2022-04-29T12:50:00.965" v="104" actId="20577"/>
      <pc:docMkLst>
        <pc:docMk/>
      </pc:docMkLst>
      <pc:sldChg chg="modSp">
        <pc:chgData name="Ana Isabel Silla Cortes" userId="S::asillaco@emeal.nttdata.com::b546b5c1-2aeb-468b-a361-4830835db4b0" providerId="AD" clId="Web-{C0185FE8-06B0-4024-B796-B1668C961A76}" dt="2022-04-29T12:48:54.948" v="53" actId="20577"/>
        <pc:sldMkLst>
          <pc:docMk/>
          <pc:sldMk cId="2392750449" sldId="2335"/>
        </pc:sldMkLst>
        <pc:spChg chg="mod">
          <ac:chgData name="Ana Isabel Silla Cortes" userId="S::asillaco@emeal.nttdata.com::b546b5c1-2aeb-468b-a361-4830835db4b0" providerId="AD" clId="Web-{C0185FE8-06B0-4024-B796-B1668C961A76}" dt="2022-04-29T12:48:54.948" v="53" actId="20577"/>
          <ac:spMkLst>
            <pc:docMk/>
            <pc:sldMk cId="2392750449" sldId="2335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5:34.427" v="5" actId="20577"/>
        <pc:sldMkLst>
          <pc:docMk/>
          <pc:sldMk cId="2237554101" sldId="2421"/>
        </pc:sldMkLst>
        <pc:spChg chg="mod">
          <ac:chgData name="Ana Isabel Silla Cortes" userId="S::asillaco@emeal.nttdata.com::b546b5c1-2aeb-468b-a361-4830835db4b0" providerId="AD" clId="Web-{C0185FE8-06B0-4024-B796-B1668C961A76}" dt="2022-04-29T12:45:34.427" v="5" actId="20577"/>
          <ac:spMkLst>
            <pc:docMk/>
            <pc:sldMk cId="2237554101" sldId="2421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6:19.834" v="13" actId="20577"/>
        <pc:sldMkLst>
          <pc:docMk/>
          <pc:sldMk cId="2891543704" sldId="2422"/>
        </pc:sldMkLst>
        <pc:spChg chg="mod">
          <ac:chgData name="Ana Isabel Silla Cortes" userId="S::asillaco@emeal.nttdata.com::b546b5c1-2aeb-468b-a361-4830835db4b0" providerId="AD" clId="Web-{C0185FE8-06B0-4024-B796-B1668C961A76}" dt="2022-04-29T12:46:19.834" v="13" actId="20577"/>
          <ac:spMkLst>
            <pc:docMk/>
            <pc:sldMk cId="2891543704" sldId="2422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6:49.147" v="16" actId="20577"/>
        <pc:sldMkLst>
          <pc:docMk/>
          <pc:sldMk cId="1977536290" sldId="2423"/>
        </pc:sldMkLst>
        <pc:spChg chg="mod">
          <ac:chgData name="Ana Isabel Silla Cortes" userId="S::asillaco@emeal.nttdata.com::b546b5c1-2aeb-468b-a361-4830835db4b0" providerId="AD" clId="Web-{C0185FE8-06B0-4024-B796-B1668C961A76}" dt="2022-04-29T12:46:49.147" v="16" actId="20577"/>
          <ac:spMkLst>
            <pc:docMk/>
            <pc:sldMk cId="1977536290" sldId="2423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5:27.801" v="3"/>
        <pc:sldMkLst>
          <pc:docMk/>
          <pc:sldMk cId="3290642412" sldId="2425"/>
        </pc:sldMkLst>
        <pc:spChg chg="mod">
          <ac:chgData name="Ana Isabel Silla Cortes" userId="S::asillaco@emeal.nttdata.com::b546b5c1-2aeb-468b-a361-4830835db4b0" providerId="AD" clId="Web-{C0185FE8-06B0-4024-B796-B1668C961A76}" dt="2022-04-29T12:45:27.801" v="3"/>
          <ac:spMkLst>
            <pc:docMk/>
            <pc:sldMk cId="3290642412" sldId="2425"/>
            <ac:spMk id="14" creationId="{71B165B6-8798-541D-AA53-9B065ED23A0B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5:54.286" v="11"/>
        <pc:sldMkLst>
          <pc:docMk/>
          <pc:sldMk cId="2176634170" sldId="2427"/>
        </pc:sldMkLst>
        <pc:spChg chg="mod">
          <ac:chgData name="Ana Isabel Silla Cortes" userId="S::asillaco@emeal.nttdata.com::b546b5c1-2aeb-468b-a361-4830835db4b0" providerId="AD" clId="Web-{C0185FE8-06B0-4024-B796-B1668C961A76}" dt="2022-04-29T12:45:54.286" v="11"/>
          <ac:spMkLst>
            <pc:docMk/>
            <pc:sldMk cId="2176634170" sldId="2427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5:17.785" v="2" actId="20577"/>
        <pc:sldMkLst>
          <pc:docMk/>
          <pc:sldMk cId="2485783394" sldId="2430"/>
        </pc:sldMkLst>
        <pc:spChg chg="mod">
          <ac:chgData name="Ana Isabel Silla Cortes" userId="S::asillaco@emeal.nttdata.com::b546b5c1-2aeb-468b-a361-4830835db4b0" providerId="AD" clId="Web-{C0185FE8-06B0-4024-B796-B1668C961A76}" dt="2022-04-29T12:45:17.785" v="2" actId="20577"/>
          <ac:spMkLst>
            <pc:docMk/>
            <pc:sldMk cId="2485783394" sldId="2430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9:24.542" v="75" actId="20577"/>
        <pc:sldMkLst>
          <pc:docMk/>
          <pc:sldMk cId="1737487934" sldId="2431"/>
        </pc:sldMkLst>
        <pc:spChg chg="mod">
          <ac:chgData name="Ana Isabel Silla Cortes" userId="S::asillaco@emeal.nttdata.com::b546b5c1-2aeb-468b-a361-4830835db4b0" providerId="AD" clId="Web-{C0185FE8-06B0-4024-B796-B1668C961A76}" dt="2022-04-29T12:49:24.542" v="75" actId="20577"/>
          <ac:spMkLst>
            <pc:docMk/>
            <pc:sldMk cId="1737487934" sldId="2431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9:10.495" v="65" actId="20577"/>
        <pc:sldMkLst>
          <pc:docMk/>
          <pc:sldMk cId="768627014" sldId="2432"/>
        </pc:sldMkLst>
        <pc:spChg chg="mod">
          <ac:chgData name="Ana Isabel Silla Cortes" userId="S::asillaco@emeal.nttdata.com::b546b5c1-2aeb-468b-a361-4830835db4b0" providerId="AD" clId="Web-{C0185FE8-06B0-4024-B796-B1668C961A76}" dt="2022-04-29T12:49:10.495" v="65" actId="20577"/>
          <ac:spMkLst>
            <pc:docMk/>
            <pc:sldMk cId="768627014" sldId="2432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9:36.183" v="84" actId="20577"/>
        <pc:sldMkLst>
          <pc:docMk/>
          <pc:sldMk cId="2958677732" sldId="2433"/>
        </pc:sldMkLst>
        <pc:spChg chg="mod">
          <ac:chgData name="Ana Isabel Silla Cortes" userId="S::asillaco@emeal.nttdata.com::b546b5c1-2aeb-468b-a361-4830835db4b0" providerId="AD" clId="Web-{C0185FE8-06B0-4024-B796-B1668C961A76}" dt="2022-04-29T12:49:36.183" v="84" actId="20577"/>
          <ac:spMkLst>
            <pc:docMk/>
            <pc:sldMk cId="2958677732" sldId="2433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9:47.871" v="94" actId="20577"/>
        <pc:sldMkLst>
          <pc:docMk/>
          <pc:sldMk cId="3347855164" sldId="2434"/>
        </pc:sldMkLst>
        <pc:spChg chg="mod">
          <ac:chgData name="Ana Isabel Silla Cortes" userId="S::asillaco@emeal.nttdata.com::b546b5c1-2aeb-468b-a361-4830835db4b0" providerId="AD" clId="Web-{C0185FE8-06B0-4024-B796-B1668C961A76}" dt="2022-04-29T12:49:47.871" v="94" actId="20577"/>
          <ac:spMkLst>
            <pc:docMk/>
            <pc:sldMk cId="3347855164" sldId="2434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50:00.965" v="104" actId="20577"/>
        <pc:sldMkLst>
          <pc:docMk/>
          <pc:sldMk cId="1632767328" sldId="2435"/>
        </pc:sldMkLst>
        <pc:spChg chg="mod">
          <ac:chgData name="Ana Isabel Silla Cortes" userId="S::asillaco@emeal.nttdata.com::b546b5c1-2aeb-468b-a361-4830835db4b0" providerId="AD" clId="Web-{C0185FE8-06B0-4024-B796-B1668C961A76}" dt="2022-04-29T12:50:00.965" v="104" actId="20577"/>
          <ac:spMkLst>
            <pc:docMk/>
            <pc:sldMk cId="1632767328" sldId="2435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7:06.429" v="19" actId="20577"/>
        <pc:sldMkLst>
          <pc:docMk/>
          <pc:sldMk cId="3994295725" sldId="2436"/>
        </pc:sldMkLst>
        <pc:spChg chg="mod">
          <ac:chgData name="Ana Isabel Silla Cortes" userId="S::asillaco@emeal.nttdata.com::b546b5c1-2aeb-468b-a361-4830835db4b0" providerId="AD" clId="Web-{C0185FE8-06B0-4024-B796-B1668C961A76}" dt="2022-04-29T12:47:06.429" v="19" actId="20577"/>
          <ac:spMkLst>
            <pc:docMk/>
            <pc:sldMk cId="3994295725" sldId="2436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7:27.477" v="24"/>
        <pc:sldMkLst>
          <pc:docMk/>
          <pc:sldMk cId="2236573937" sldId="2438"/>
        </pc:sldMkLst>
        <pc:spChg chg="mod">
          <ac:chgData name="Ana Isabel Silla Cortes" userId="S::asillaco@emeal.nttdata.com::b546b5c1-2aeb-468b-a361-4830835db4b0" providerId="AD" clId="Web-{C0185FE8-06B0-4024-B796-B1668C961A76}" dt="2022-04-29T12:47:27.477" v="24"/>
          <ac:spMkLst>
            <pc:docMk/>
            <pc:sldMk cId="2236573937" sldId="2438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7:42.196" v="27" actId="20577"/>
        <pc:sldMkLst>
          <pc:docMk/>
          <pc:sldMk cId="4205427111" sldId="2440"/>
        </pc:sldMkLst>
        <pc:spChg chg="mod">
          <ac:chgData name="Ana Isabel Silla Cortes" userId="S::asillaco@emeal.nttdata.com::b546b5c1-2aeb-468b-a361-4830835db4b0" providerId="AD" clId="Web-{C0185FE8-06B0-4024-B796-B1668C961A76}" dt="2022-04-29T12:47:42.196" v="27" actId="20577"/>
          <ac:spMkLst>
            <pc:docMk/>
            <pc:sldMk cId="4205427111" sldId="2440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8:17.384" v="37" actId="20577"/>
        <pc:sldMkLst>
          <pc:docMk/>
          <pc:sldMk cId="3296295457" sldId="2449"/>
        </pc:sldMkLst>
        <pc:spChg chg="mod">
          <ac:chgData name="Ana Isabel Silla Cortes" userId="S::asillaco@emeal.nttdata.com::b546b5c1-2aeb-468b-a361-4830835db4b0" providerId="AD" clId="Web-{C0185FE8-06B0-4024-B796-B1668C961A76}" dt="2022-04-29T12:48:17.384" v="37" actId="20577"/>
          <ac:spMkLst>
            <pc:docMk/>
            <pc:sldMk cId="3296295457" sldId="2449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8:26.025" v="40" actId="20577"/>
        <pc:sldMkLst>
          <pc:docMk/>
          <pc:sldMk cId="1680424220" sldId="2450"/>
        </pc:sldMkLst>
        <pc:spChg chg="mod">
          <ac:chgData name="Ana Isabel Silla Cortes" userId="S::asillaco@emeal.nttdata.com::b546b5c1-2aeb-468b-a361-4830835db4b0" providerId="AD" clId="Web-{C0185FE8-06B0-4024-B796-B1668C961A76}" dt="2022-04-29T12:48:26.025" v="40" actId="20577"/>
          <ac:spMkLst>
            <pc:docMk/>
            <pc:sldMk cId="1680424220" sldId="2450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8:36.666" v="43" actId="20577"/>
        <pc:sldMkLst>
          <pc:docMk/>
          <pc:sldMk cId="3678979713" sldId="2451"/>
        </pc:sldMkLst>
        <pc:spChg chg="mod">
          <ac:chgData name="Ana Isabel Silla Cortes" userId="S::asillaco@emeal.nttdata.com::b546b5c1-2aeb-468b-a361-4830835db4b0" providerId="AD" clId="Web-{C0185FE8-06B0-4024-B796-B1668C961A76}" dt="2022-04-29T12:48:36.666" v="43" actId="20577"/>
          <ac:spMkLst>
            <pc:docMk/>
            <pc:sldMk cId="3678979713" sldId="2451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8:05.196" v="33" actId="20577"/>
        <pc:sldMkLst>
          <pc:docMk/>
          <pc:sldMk cId="1509237927" sldId="2454"/>
        </pc:sldMkLst>
        <pc:spChg chg="mod">
          <ac:chgData name="Ana Isabel Silla Cortes" userId="S::asillaco@emeal.nttdata.com::b546b5c1-2aeb-468b-a361-4830835db4b0" providerId="AD" clId="Web-{C0185FE8-06B0-4024-B796-B1668C961A76}" dt="2022-04-29T12:48:05.196" v="33" actId="20577"/>
          <ac:spMkLst>
            <pc:docMk/>
            <pc:sldMk cId="1509237927" sldId="2454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C0185FE8-06B0-4024-B796-B1668C961A76}" dt="2022-04-29T12:47:52.321" v="30" actId="20577"/>
        <pc:sldMkLst>
          <pc:docMk/>
          <pc:sldMk cId="808673692" sldId="2455"/>
        </pc:sldMkLst>
        <pc:spChg chg="mod">
          <ac:chgData name="Ana Isabel Silla Cortes" userId="S::asillaco@emeal.nttdata.com::b546b5c1-2aeb-468b-a361-4830835db4b0" providerId="AD" clId="Web-{C0185FE8-06B0-4024-B796-B1668C961A76}" dt="2022-04-29T12:47:52.321" v="30" actId="20577"/>
          <ac:spMkLst>
            <pc:docMk/>
            <pc:sldMk cId="808673692" sldId="2455"/>
            <ac:spMk id="28" creationId="{DD453CE2-6FED-4720-8043-DBD1D2185AE1}"/>
          </ac:spMkLst>
        </pc:spChg>
      </pc:sldChg>
    </pc:docChg>
  </pc:docChgLst>
  <pc:docChgLst>
    <pc:chgData name="David Pastor Puyuelo" userId="S::dpastopu@emeal.nttdata.com::4ba541ea-9651-41d4-862c-06544bb5ec7b" providerId="AD" clId="Web-{8D8CFFC7-0972-7B09-E5A4-4DD89670AC4A}"/>
    <pc:docChg chg="modSld">
      <pc:chgData name="David Pastor Puyuelo" userId="S::dpastopu@emeal.nttdata.com::4ba541ea-9651-41d4-862c-06544bb5ec7b" providerId="AD" clId="Web-{8D8CFFC7-0972-7B09-E5A4-4DD89670AC4A}" dt="2022-04-29T12:57:23.959" v="4" actId="1076"/>
      <pc:docMkLst>
        <pc:docMk/>
      </pc:docMkLst>
      <pc:sldChg chg="addSp delSp modSp">
        <pc:chgData name="David Pastor Puyuelo" userId="S::dpastopu@emeal.nttdata.com::4ba541ea-9651-41d4-862c-06544bb5ec7b" providerId="AD" clId="Web-{8D8CFFC7-0972-7B09-E5A4-4DD89670AC4A}" dt="2022-04-29T12:57:23.959" v="4" actId="1076"/>
        <pc:sldMkLst>
          <pc:docMk/>
          <pc:sldMk cId="2485783394" sldId="2430"/>
        </pc:sldMkLst>
        <pc:picChg chg="add mod">
          <ac:chgData name="David Pastor Puyuelo" userId="S::dpastopu@emeal.nttdata.com::4ba541ea-9651-41d4-862c-06544bb5ec7b" providerId="AD" clId="Web-{8D8CFFC7-0972-7B09-E5A4-4DD89670AC4A}" dt="2022-04-29T12:57:23.959" v="4" actId="1076"/>
          <ac:picMkLst>
            <pc:docMk/>
            <pc:sldMk cId="2485783394" sldId="2430"/>
            <ac:picMk id="2" creationId="{86A14205-548D-DB29-2510-2592C30864AB}"/>
          </ac:picMkLst>
        </pc:picChg>
        <pc:picChg chg="del">
          <ac:chgData name="David Pastor Puyuelo" userId="S::dpastopu@emeal.nttdata.com::4ba541ea-9651-41d4-862c-06544bb5ec7b" providerId="AD" clId="Web-{8D8CFFC7-0972-7B09-E5A4-4DD89670AC4A}" dt="2022-04-29T12:57:12.896" v="0"/>
          <ac:picMkLst>
            <pc:docMk/>
            <pc:sldMk cId="2485783394" sldId="2430"/>
            <ac:picMk id="7" creationId="{D1CBDD78-8092-B534-88BE-A8216E40FAE6}"/>
          </ac:picMkLst>
        </pc:picChg>
      </pc:sldChg>
    </pc:docChg>
  </pc:docChgLst>
  <pc:docChgLst>
    <pc:chgData name="Alvaro Mier Fernandez" userId="S::amierfer@emeal.nttdata.com::c642f8e6-b31e-4af5-bb23-25d9263e6664" providerId="AD" clId="Web-{ED1BDF19-3221-EAD8-218B-62D83A13020B}"/>
    <pc:docChg chg="modSld">
      <pc:chgData name="Alvaro Mier Fernandez" userId="S::amierfer@emeal.nttdata.com::c642f8e6-b31e-4af5-bb23-25d9263e6664" providerId="AD" clId="Web-{ED1BDF19-3221-EAD8-218B-62D83A13020B}" dt="2022-05-03T11:01:05.786" v="14" actId="20577"/>
      <pc:docMkLst>
        <pc:docMk/>
      </pc:docMkLst>
      <pc:sldChg chg="modSp">
        <pc:chgData name="Alvaro Mier Fernandez" userId="S::amierfer@emeal.nttdata.com::c642f8e6-b31e-4af5-bb23-25d9263e6664" providerId="AD" clId="Web-{ED1BDF19-3221-EAD8-218B-62D83A13020B}" dt="2022-05-03T11:01:05.786" v="14" actId="20577"/>
        <pc:sldMkLst>
          <pc:docMk/>
          <pc:sldMk cId="65301296" sldId="2459"/>
        </pc:sldMkLst>
        <pc:spChg chg="mod">
          <ac:chgData name="Alvaro Mier Fernandez" userId="S::amierfer@emeal.nttdata.com::c642f8e6-b31e-4af5-bb23-25d9263e6664" providerId="AD" clId="Web-{ED1BDF19-3221-EAD8-218B-62D83A13020B}" dt="2022-05-03T11:01:05.786" v="14" actId="20577"/>
          <ac:spMkLst>
            <pc:docMk/>
            <pc:sldMk cId="65301296" sldId="2459"/>
            <ac:spMk id="2" creationId="{6F845D07-8496-66AF-C9F7-3EBA8F74B913}"/>
          </ac:spMkLst>
        </pc:spChg>
      </pc:sldChg>
      <pc:sldChg chg="modSp">
        <pc:chgData name="Alvaro Mier Fernandez" userId="S::amierfer@emeal.nttdata.com::c642f8e6-b31e-4af5-bb23-25d9263e6664" providerId="AD" clId="Web-{ED1BDF19-3221-EAD8-218B-62D83A13020B}" dt="2022-05-03T11:00:15.035" v="0" actId="14100"/>
        <pc:sldMkLst>
          <pc:docMk/>
          <pc:sldMk cId="2318983312" sldId="2483"/>
        </pc:sldMkLst>
        <pc:graphicFrameChg chg="mod">
          <ac:chgData name="Alvaro Mier Fernandez" userId="S::amierfer@emeal.nttdata.com::c642f8e6-b31e-4af5-bb23-25d9263e6664" providerId="AD" clId="Web-{ED1BDF19-3221-EAD8-218B-62D83A13020B}" dt="2022-05-03T11:00:15.035" v="0" actId="14100"/>
          <ac:graphicFrameMkLst>
            <pc:docMk/>
            <pc:sldMk cId="2318983312" sldId="2483"/>
            <ac:graphicFrameMk id="2" creationId="{00000000-0000-0000-0000-000000000000}"/>
          </ac:graphicFrameMkLst>
        </pc:graphicFrameChg>
      </pc:sldChg>
    </pc:docChg>
  </pc:docChgLst>
  <pc:docChgLst>
    <pc:chgData name="Ana Isabel Silla Cortes" userId="S::asillaco@emeal.nttdata.com::b546b5c1-2aeb-468b-a361-4830835db4b0" providerId="AD" clId="Web-{8D359E79-6F18-4276-B081-1C1A8EAE523E}"/>
    <pc:docChg chg="addSld delSld modSld modSection">
      <pc:chgData name="Ana Isabel Silla Cortes" userId="S::asillaco@emeal.nttdata.com::b546b5c1-2aeb-468b-a361-4830835db4b0" providerId="AD" clId="Web-{8D359E79-6F18-4276-B081-1C1A8EAE523E}" dt="2022-04-29T09:28:03.760" v="40"/>
      <pc:docMkLst>
        <pc:docMk/>
      </pc:docMkLst>
      <pc:sldChg chg="addSp delSp modSp del">
        <pc:chgData name="Ana Isabel Silla Cortes" userId="S::asillaco@emeal.nttdata.com::b546b5c1-2aeb-468b-a361-4830835db4b0" providerId="AD" clId="Web-{8D359E79-6F18-4276-B081-1C1A8EAE523E}" dt="2022-04-29T09:25:10.881" v="25"/>
        <pc:sldMkLst>
          <pc:docMk/>
          <pc:sldMk cId="1529194850" sldId="2417"/>
        </pc:sldMkLst>
        <pc:spChg chg="mod">
          <ac:chgData name="Ana Isabel Silla Cortes" userId="S::asillaco@emeal.nttdata.com::b546b5c1-2aeb-468b-a361-4830835db4b0" providerId="AD" clId="Web-{8D359E79-6F18-4276-B081-1C1A8EAE523E}" dt="2022-04-29T09:24:06.848" v="17" actId="20577"/>
          <ac:spMkLst>
            <pc:docMk/>
            <pc:sldMk cId="1529194850" sldId="2417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8D359E79-6F18-4276-B081-1C1A8EAE523E}" dt="2022-04-29T09:23:19.550" v="3"/>
          <ac:picMkLst>
            <pc:docMk/>
            <pc:sldMk cId="1529194850" sldId="2417"/>
            <ac:picMk id="2" creationId="{00000000-0000-0000-0000-000000000000}"/>
          </ac:picMkLst>
        </pc:picChg>
        <pc:picChg chg="del">
          <ac:chgData name="Ana Isabel Silla Cortes" userId="S::asillaco@emeal.nttdata.com::b546b5c1-2aeb-468b-a361-4830835db4b0" providerId="AD" clId="Web-{8D359E79-6F18-4276-B081-1C1A8EAE523E}" dt="2022-04-29T09:23:16.535" v="2"/>
          <ac:picMkLst>
            <pc:docMk/>
            <pc:sldMk cId="1529194850" sldId="2417"/>
            <ac:picMk id="4" creationId="{00000000-0000-0000-0000-000000000000}"/>
          </ac:picMkLst>
        </pc:picChg>
        <pc:picChg chg="add del mod">
          <ac:chgData name="Ana Isabel Silla Cortes" userId="S::asillaco@emeal.nttdata.com::b546b5c1-2aeb-468b-a361-4830835db4b0" providerId="AD" clId="Web-{8D359E79-6F18-4276-B081-1C1A8EAE523E}" dt="2022-04-29T09:24:10.333" v="19"/>
          <ac:picMkLst>
            <pc:docMk/>
            <pc:sldMk cId="1529194850" sldId="2417"/>
            <ac:picMk id="6" creationId="{71C82936-5059-2AD1-DE57-024EF852C0B9}"/>
          </ac:picMkLst>
        </pc:picChg>
        <pc:picChg chg="add mod">
          <ac:chgData name="Ana Isabel Silla Cortes" userId="S::asillaco@emeal.nttdata.com::b546b5c1-2aeb-468b-a361-4830835db4b0" providerId="AD" clId="Web-{8D359E79-6F18-4276-B081-1C1A8EAE523E}" dt="2022-04-29T09:24:32.162" v="23" actId="14100"/>
          <ac:picMkLst>
            <pc:docMk/>
            <pc:sldMk cId="1529194850" sldId="2417"/>
            <ac:picMk id="7" creationId="{16186691-2456-3198-3C77-E4CE999D09F1}"/>
          </ac:picMkLst>
        </pc:picChg>
      </pc:sldChg>
      <pc:sldChg chg="addSp delSp">
        <pc:chgData name="Ana Isabel Silla Cortes" userId="S::asillaco@emeal.nttdata.com::b546b5c1-2aeb-468b-a361-4830835db4b0" providerId="AD" clId="Web-{8D359E79-6F18-4276-B081-1C1A8EAE523E}" dt="2022-04-29T09:28:03.760" v="40"/>
        <pc:sldMkLst>
          <pc:docMk/>
          <pc:sldMk cId="981156525" sldId="2418"/>
        </pc:sldMkLst>
        <pc:spChg chg="add">
          <ac:chgData name="Ana Isabel Silla Cortes" userId="S::asillaco@emeal.nttdata.com::b546b5c1-2aeb-468b-a361-4830835db4b0" providerId="AD" clId="Web-{8D359E79-6F18-4276-B081-1C1A8EAE523E}" dt="2022-04-29T09:28:03.760" v="40"/>
          <ac:spMkLst>
            <pc:docMk/>
            <pc:sldMk cId="981156525" sldId="2418"/>
            <ac:spMk id="2" creationId="{830EE9A9-04A7-6669-A951-D6117184AC85}"/>
          </ac:spMkLst>
        </pc:spChg>
        <pc:picChg chg="del">
          <ac:chgData name="Ana Isabel Silla Cortes" userId="S::asillaco@emeal.nttdata.com::b546b5c1-2aeb-468b-a361-4830835db4b0" providerId="AD" clId="Web-{8D359E79-6F18-4276-B081-1C1A8EAE523E}" dt="2022-04-29T09:27:43.697" v="39"/>
          <ac:picMkLst>
            <pc:docMk/>
            <pc:sldMk cId="981156525" sldId="2418"/>
            <ac:picMk id="6" creationId="{00000000-0000-0000-0000-000000000000}"/>
          </ac:picMkLst>
        </pc:picChg>
      </pc:sldChg>
      <pc:sldChg chg="addSp delSp modSp add replId">
        <pc:chgData name="Ana Isabel Silla Cortes" userId="S::asillaco@emeal.nttdata.com::b546b5c1-2aeb-468b-a361-4830835db4b0" providerId="AD" clId="Web-{8D359E79-6F18-4276-B081-1C1A8EAE523E}" dt="2022-04-29T09:26:15.898" v="37" actId="1076"/>
        <pc:sldMkLst>
          <pc:docMk/>
          <pc:sldMk cId="1038101899" sldId="2428"/>
        </pc:sldMkLst>
        <pc:picChg chg="del">
          <ac:chgData name="Ana Isabel Silla Cortes" userId="S::asillaco@emeal.nttdata.com::b546b5c1-2aeb-468b-a361-4830835db4b0" providerId="AD" clId="Web-{8D359E79-6F18-4276-B081-1C1A8EAE523E}" dt="2022-04-29T09:25:24.960" v="28"/>
          <ac:picMkLst>
            <pc:docMk/>
            <pc:sldMk cId="1038101899" sldId="2428"/>
            <ac:picMk id="2" creationId="{00000000-0000-0000-0000-000000000000}"/>
          </ac:picMkLst>
        </pc:picChg>
        <pc:picChg chg="del">
          <ac:chgData name="Ana Isabel Silla Cortes" userId="S::asillaco@emeal.nttdata.com::b546b5c1-2aeb-468b-a361-4830835db4b0" providerId="AD" clId="Web-{8D359E79-6F18-4276-B081-1C1A8EAE523E}" dt="2022-04-29T09:25:18.553" v="27"/>
          <ac:picMkLst>
            <pc:docMk/>
            <pc:sldMk cId="1038101899" sldId="2428"/>
            <ac:picMk id="4" creationId="{00000000-0000-0000-0000-000000000000}"/>
          </ac:picMkLst>
        </pc:picChg>
        <pc:picChg chg="add mod">
          <ac:chgData name="Ana Isabel Silla Cortes" userId="S::asillaco@emeal.nttdata.com::b546b5c1-2aeb-468b-a361-4830835db4b0" providerId="AD" clId="Web-{8D359E79-6F18-4276-B081-1C1A8EAE523E}" dt="2022-04-29T09:26:15.898" v="37" actId="1076"/>
          <ac:picMkLst>
            <pc:docMk/>
            <pc:sldMk cId="1038101899" sldId="2428"/>
            <ac:picMk id="6" creationId="{B9AF0ECD-A58A-9D2C-1524-3CAC1898265B}"/>
          </ac:picMkLst>
        </pc:picChg>
      </pc:sldChg>
      <pc:sldChg chg="del">
        <pc:chgData name="Ana Isabel Silla Cortes" userId="S::asillaco@emeal.nttdata.com::b546b5c1-2aeb-468b-a361-4830835db4b0" providerId="AD" clId="Web-{8D359E79-6F18-4276-B081-1C1A8EAE523E}" dt="2022-04-29T09:23:04.566" v="0"/>
        <pc:sldMkLst>
          <pc:docMk/>
          <pc:sldMk cId="1052846755" sldId="2428"/>
        </pc:sldMkLst>
      </pc:sldChg>
      <pc:sldChg chg="addSp delSp modSp new del">
        <pc:chgData name="Ana Isabel Silla Cortes" userId="S::asillaco@emeal.nttdata.com::b546b5c1-2aeb-468b-a361-4830835db4b0" providerId="AD" clId="Web-{8D359E79-6F18-4276-B081-1C1A8EAE523E}" dt="2022-04-29T09:25:10.709" v="24"/>
        <pc:sldMkLst>
          <pc:docMk/>
          <pc:sldMk cId="235033267" sldId="2429"/>
        </pc:sldMkLst>
        <pc:spChg chg="del">
          <ac:chgData name="Ana Isabel Silla Cortes" userId="S::asillaco@emeal.nttdata.com::b546b5c1-2aeb-468b-a361-4830835db4b0" providerId="AD" clId="Web-{8D359E79-6F18-4276-B081-1C1A8EAE523E}" dt="2022-04-29T09:24:23.443" v="21"/>
          <ac:spMkLst>
            <pc:docMk/>
            <pc:sldMk cId="235033267" sldId="2429"/>
            <ac:spMk id="3" creationId="{80172E0F-575E-E2D9-950F-95F191AA856A}"/>
          </ac:spMkLst>
        </pc:spChg>
        <pc:picChg chg="add mod ord">
          <ac:chgData name="Ana Isabel Silla Cortes" userId="S::asillaco@emeal.nttdata.com::b546b5c1-2aeb-468b-a361-4830835db4b0" providerId="AD" clId="Web-{8D359E79-6F18-4276-B081-1C1A8EAE523E}" dt="2022-04-29T09:24:23.443" v="21"/>
          <ac:picMkLst>
            <pc:docMk/>
            <pc:sldMk cId="235033267" sldId="2429"/>
            <ac:picMk id="5" creationId="{9EE17EB9-A0F2-B1DB-6CE4-D1C192D9CB9A}"/>
          </ac:picMkLst>
        </pc:picChg>
      </pc:sldChg>
      <pc:sldChg chg="add replId">
        <pc:chgData name="Ana Isabel Silla Cortes" userId="S::asillaco@emeal.nttdata.com::b546b5c1-2aeb-468b-a361-4830835db4b0" providerId="AD" clId="Web-{8D359E79-6F18-4276-B081-1C1A8EAE523E}" dt="2022-04-29T09:25:13.631" v="26"/>
        <pc:sldMkLst>
          <pc:docMk/>
          <pc:sldMk cId="2002864901" sldId="2429"/>
        </pc:sldMkLst>
      </pc:sldChg>
      <pc:sldChg chg="addSp delSp modSp new del mod setBg">
        <pc:chgData name="Ana Isabel Silla Cortes" userId="S::asillaco@emeal.nttdata.com::b546b5c1-2aeb-468b-a361-4830835db4b0" providerId="AD" clId="Web-{8D359E79-6F18-4276-B081-1C1A8EAE523E}" dt="2022-04-29T09:27:30.494" v="38"/>
        <pc:sldMkLst>
          <pc:docMk/>
          <pc:sldMk cId="2367364827" sldId="2430"/>
        </pc:sldMkLst>
        <pc:spChg chg="del">
          <ac:chgData name="Ana Isabel Silla Cortes" userId="S::asillaco@emeal.nttdata.com::b546b5c1-2aeb-468b-a361-4830835db4b0" providerId="AD" clId="Web-{8D359E79-6F18-4276-B081-1C1A8EAE523E}" dt="2022-04-29T09:25:51.288" v="33"/>
          <ac:spMkLst>
            <pc:docMk/>
            <pc:sldMk cId="2367364827" sldId="2430"/>
            <ac:spMk id="2" creationId="{E66944FA-9377-0759-EB63-DE4997AB84D4}"/>
          </ac:spMkLst>
        </pc:spChg>
        <pc:spChg chg="del">
          <ac:chgData name="Ana Isabel Silla Cortes" userId="S::asillaco@emeal.nttdata.com::b546b5c1-2aeb-468b-a361-4830835db4b0" providerId="AD" clId="Web-{8D359E79-6F18-4276-B081-1C1A8EAE523E}" dt="2022-04-29T09:25:44.304" v="32"/>
          <ac:spMkLst>
            <pc:docMk/>
            <pc:sldMk cId="2367364827" sldId="2430"/>
            <ac:spMk id="3" creationId="{4D774145-72CC-2BD3-78A5-97605C12E26F}"/>
          </ac:spMkLst>
        </pc:spChg>
        <pc:spChg chg="mod">
          <ac:chgData name="Ana Isabel Silla Cortes" userId="S::asillaco@emeal.nttdata.com::b546b5c1-2aeb-468b-a361-4830835db4b0" providerId="AD" clId="Web-{8D359E79-6F18-4276-B081-1C1A8EAE523E}" dt="2022-04-29T09:25:51.288" v="33"/>
          <ac:spMkLst>
            <pc:docMk/>
            <pc:sldMk cId="2367364827" sldId="2430"/>
            <ac:spMk id="4" creationId="{11F14B55-AC4F-C324-E674-2315C65B7F22}"/>
          </ac:spMkLst>
        </pc:spChg>
        <pc:spChg chg="add">
          <ac:chgData name="Ana Isabel Silla Cortes" userId="S::asillaco@emeal.nttdata.com::b546b5c1-2aeb-468b-a361-4830835db4b0" providerId="AD" clId="Web-{8D359E79-6F18-4276-B081-1C1A8EAE523E}" dt="2022-04-29T09:25:51.288" v="33"/>
          <ac:spMkLst>
            <pc:docMk/>
            <pc:sldMk cId="2367364827" sldId="2430"/>
            <ac:spMk id="10" creationId="{32BC26D8-82FB-445E-AA49-62A77D7C1EE0}"/>
          </ac:spMkLst>
        </pc:spChg>
        <pc:spChg chg="add">
          <ac:chgData name="Ana Isabel Silla Cortes" userId="S::asillaco@emeal.nttdata.com::b546b5c1-2aeb-468b-a361-4830835db4b0" providerId="AD" clId="Web-{8D359E79-6F18-4276-B081-1C1A8EAE523E}" dt="2022-04-29T09:25:51.288" v="33"/>
          <ac:spMkLst>
            <pc:docMk/>
            <pc:sldMk cId="2367364827" sldId="2430"/>
            <ac:spMk id="12" creationId="{CB44330D-EA18-4254-AA95-EB49948539B8}"/>
          </ac:spMkLst>
        </pc:spChg>
        <pc:picChg chg="add mod ord">
          <ac:chgData name="Ana Isabel Silla Cortes" userId="S::asillaco@emeal.nttdata.com::b546b5c1-2aeb-468b-a361-4830835db4b0" providerId="AD" clId="Web-{8D359E79-6F18-4276-B081-1C1A8EAE523E}" dt="2022-04-29T09:25:51.288" v="33"/>
          <ac:picMkLst>
            <pc:docMk/>
            <pc:sldMk cId="2367364827" sldId="2430"/>
            <ac:picMk id="5" creationId="{88556B24-50A4-39D3-D457-2A4B0EBF0809}"/>
          </ac:picMkLst>
        </pc:picChg>
      </pc:sldChg>
      <pc:sldChg chg="add del replId">
        <pc:chgData name="Ana Isabel Silla Cortes" userId="S::asillaco@emeal.nttdata.com::b546b5c1-2aeb-468b-a361-4830835db4b0" providerId="AD" clId="Web-{8D359E79-6F18-4276-B081-1C1A8EAE523E}" dt="2022-04-29T09:25:35.851" v="31"/>
        <pc:sldMkLst>
          <pc:docMk/>
          <pc:sldMk cId="432103789" sldId="2431"/>
        </pc:sldMkLst>
      </pc:sldChg>
      <pc:sldChg chg="add del replId">
        <pc:chgData name="Ana Isabel Silla Cortes" userId="S::asillaco@emeal.nttdata.com::b546b5c1-2aeb-468b-a361-4830835db4b0" providerId="AD" clId="Web-{8D359E79-6F18-4276-B081-1C1A8EAE523E}" dt="2022-04-29T09:25:59.523" v="35"/>
        <pc:sldMkLst>
          <pc:docMk/>
          <pc:sldMk cId="2219814116" sldId="2431"/>
        </pc:sldMkLst>
      </pc:sldChg>
    </pc:docChg>
  </pc:docChgLst>
  <pc:docChgLst>
    <pc:chgData name="Ana Isabel Silla Cortes" userId="S::asillaco@emeal.nttdata.com::b546b5c1-2aeb-468b-a361-4830835db4b0" providerId="AD" clId="Web-{9203E1DB-8619-42B0-93BE-BC4883791351}"/>
    <pc:docChg chg="addSld delSld modSld sldOrd modSection">
      <pc:chgData name="Ana Isabel Silla Cortes" userId="S::asillaco@emeal.nttdata.com::b546b5c1-2aeb-468b-a361-4830835db4b0" providerId="AD" clId="Web-{9203E1DB-8619-42B0-93BE-BC4883791351}" dt="2022-04-29T11:32:56.328" v="51" actId="20577"/>
      <pc:docMkLst>
        <pc:docMk/>
      </pc:docMkLst>
      <pc:sldChg chg="addSp delSp modSp add replId">
        <pc:chgData name="Ana Isabel Silla Cortes" userId="S::asillaco@emeal.nttdata.com::b546b5c1-2aeb-468b-a361-4830835db4b0" providerId="AD" clId="Web-{9203E1DB-8619-42B0-93BE-BC4883791351}" dt="2022-04-29T11:31:42.717" v="41" actId="20577"/>
        <pc:sldMkLst>
          <pc:docMk/>
          <pc:sldMk cId="2749353794" sldId="2441"/>
        </pc:sldMkLst>
        <pc:spChg chg="del">
          <ac:chgData name="Ana Isabel Silla Cortes" userId="S::asillaco@emeal.nttdata.com::b546b5c1-2aeb-468b-a361-4830835db4b0" providerId="AD" clId="Web-{9203E1DB-8619-42B0-93BE-BC4883791351}" dt="2022-04-29T11:16:57.818" v="2"/>
          <ac:spMkLst>
            <pc:docMk/>
            <pc:sldMk cId="2749353794" sldId="2441"/>
            <ac:spMk id="12" creationId="{D9E25197-1741-DF0C-D5F5-C81EE0C7CBE8}"/>
          </ac:spMkLst>
        </pc:spChg>
        <pc:spChg chg="mod">
          <ac:chgData name="Ana Isabel Silla Cortes" userId="S::asillaco@emeal.nttdata.com::b546b5c1-2aeb-468b-a361-4830835db4b0" providerId="AD" clId="Web-{9203E1DB-8619-42B0-93BE-BC4883791351}" dt="2022-04-29T11:31:42.717" v="41" actId="20577"/>
          <ac:spMkLst>
            <pc:docMk/>
            <pc:sldMk cId="2749353794" sldId="2441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9203E1DB-8619-42B0-93BE-BC4883791351}" dt="2022-04-29T11:16:53.599" v="1"/>
          <ac:picMkLst>
            <pc:docMk/>
            <pc:sldMk cId="2749353794" sldId="2441"/>
            <ac:picMk id="2" creationId="{94BB4E41-8C94-68E1-F104-7FF5D4889736}"/>
          </ac:picMkLst>
        </pc:picChg>
        <pc:picChg chg="add del mod">
          <ac:chgData name="Ana Isabel Silla Cortes" userId="S::asillaco@emeal.nttdata.com::b546b5c1-2aeb-468b-a361-4830835db4b0" providerId="AD" clId="Web-{9203E1DB-8619-42B0-93BE-BC4883791351}" dt="2022-04-29T11:20:52.637" v="4"/>
          <ac:picMkLst>
            <pc:docMk/>
            <pc:sldMk cId="2749353794" sldId="2441"/>
            <ac:picMk id="4" creationId="{F14A4FA1-7269-2711-98F2-05468A069B6A}"/>
          </ac:picMkLst>
        </pc:picChg>
        <pc:picChg chg="add mod">
          <ac:chgData name="Ana Isabel Silla Cortes" userId="S::asillaco@emeal.nttdata.com::b546b5c1-2aeb-468b-a361-4830835db4b0" providerId="AD" clId="Web-{9203E1DB-8619-42B0-93BE-BC4883791351}" dt="2022-04-29T11:21:16.934" v="8" actId="1076"/>
          <ac:picMkLst>
            <pc:docMk/>
            <pc:sldMk cId="2749353794" sldId="2441"/>
            <ac:picMk id="6" creationId="{2DA4F6C8-C6CA-E654-E1F3-70A200E22D53}"/>
          </ac:picMkLst>
        </pc:picChg>
      </pc:sldChg>
      <pc:sldChg chg="addSp delSp modSp new del">
        <pc:chgData name="Ana Isabel Silla Cortes" userId="S::asillaco@emeal.nttdata.com::b546b5c1-2aeb-468b-a361-4830835db4b0" providerId="AD" clId="Web-{9203E1DB-8619-42B0-93BE-BC4883791351}" dt="2022-04-29T11:21:27.388" v="9"/>
        <pc:sldMkLst>
          <pc:docMk/>
          <pc:sldMk cId="399431020" sldId="2442"/>
        </pc:sldMkLst>
        <pc:spChg chg="del">
          <ac:chgData name="Ana Isabel Silla Cortes" userId="S::asillaco@emeal.nttdata.com::b546b5c1-2aeb-468b-a361-4830835db4b0" providerId="AD" clId="Web-{9203E1DB-8619-42B0-93BE-BC4883791351}" dt="2022-04-29T11:20:59.090" v="6"/>
          <ac:spMkLst>
            <pc:docMk/>
            <pc:sldMk cId="399431020" sldId="2442"/>
            <ac:spMk id="3" creationId="{1A31EBCE-BCB0-395A-920D-DA1EB2B91636}"/>
          </ac:spMkLst>
        </pc:spChg>
        <pc:picChg chg="add mod ord">
          <ac:chgData name="Ana Isabel Silla Cortes" userId="S::asillaco@emeal.nttdata.com::b546b5c1-2aeb-468b-a361-4830835db4b0" providerId="AD" clId="Web-{9203E1DB-8619-42B0-93BE-BC4883791351}" dt="2022-04-29T11:20:59.090" v="6"/>
          <ac:picMkLst>
            <pc:docMk/>
            <pc:sldMk cId="399431020" sldId="2442"/>
            <ac:picMk id="5" creationId="{8B487C3D-339E-2E06-1DA1-423DAFA1544C}"/>
          </ac:picMkLst>
        </pc:picChg>
      </pc:sldChg>
      <pc:sldChg chg="delSp modSp add replId">
        <pc:chgData name="Ana Isabel Silla Cortes" userId="S::asillaco@emeal.nttdata.com::b546b5c1-2aeb-468b-a361-4830835db4b0" providerId="AD" clId="Web-{9203E1DB-8619-42B0-93BE-BC4883791351}" dt="2022-04-29T11:32:56.328" v="51" actId="20577"/>
        <pc:sldMkLst>
          <pc:docMk/>
          <pc:sldMk cId="3916546720" sldId="2442"/>
        </pc:sldMkLst>
        <pc:spChg chg="mod">
          <ac:chgData name="Ana Isabel Silla Cortes" userId="S::asillaco@emeal.nttdata.com::b546b5c1-2aeb-468b-a361-4830835db4b0" providerId="AD" clId="Web-{9203E1DB-8619-42B0-93BE-BC4883791351}" dt="2022-04-29T11:32:56.328" v="51" actId="20577"/>
          <ac:spMkLst>
            <pc:docMk/>
            <pc:sldMk cId="3916546720" sldId="2442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9203E1DB-8619-42B0-93BE-BC4883791351}" dt="2022-04-29T11:23:48.251" v="11"/>
          <ac:picMkLst>
            <pc:docMk/>
            <pc:sldMk cId="3916546720" sldId="2442"/>
            <ac:picMk id="6" creationId="{2DA4F6C8-C6CA-E654-E1F3-70A200E22D53}"/>
          </ac:picMkLst>
        </pc:picChg>
      </pc:sldChg>
      <pc:sldChg chg="new del ord">
        <pc:chgData name="Ana Isabel Silla Cortes" userId="S::asillaco@emeal.nttdata.com::b546b5c1-2aeb-468b-a361-4830835db4b0" providerId="AD" clId="Web-{9203E1DB-8619-42B0-93BE-BC4883791351}" dt="2022-04-29T11:24:34.502" v="19"/>
        <pc:sldMkLst>
          <pc:docMk/>
          <pc:sldMk cId="599766228" sldId="2443"/>
        </pc:sldMkLst>
      </pc:sldChg>
      <pc:sldChg chg="add del replId">
        <pc:chgData name="Ana Isabel Silla Cortes" userId="S::asillaco@emeal.nttdata.com::b546b5c1-2aeb-468b-a361-4830835db4b0" providerId="AD" clId="Web-{9203E1DB-8619-42B0-93BE-BC4883791351}" dt="2022-04-29T11:23:58.251" v="13"/>
        <pc:sldMkLst>
          <pc:docMk/>
          <pc:sldMk cId="4136763235" sldId="2443"/>
        </pc:sldMkLst>
      </pc:sldChg>
      <pc:sldChg chg="add del replId">
        <pc:chgData name="Ana Isabel Silla Cortes" userId="S::asillaco@emeal.nttdata.com::b546b5c1-2aeb-468b-a361-4830835db4b0" providerId="AD" clId="Web-{9203E1DB-8619-42B0-93BE-BC4883791351}" dt="2022-04-29T11:24:30.908" v="17"/>
        <pc:sldMkLst>
          <pc:docMk/>
          <pc:sldMk cId="3417909184" sldId="2444"/>
        </pc:sldMkLst>
      </pc:sldChg>
      <pc:sldChg chg="add replId">
        <pc:chgData name="Ana Isabel Silla Cortes" userId="S::asillaco@emeal.nttdata.com::b546b5c1-2aeb-468b-a361-4830835db4b0" providerId="AD" clId="Web-{9203E1DB-8619-42B0-93BE-BC4883791351}" dt="2022-04-29T11:24:25.627" v="16"/>
        <pc:sldMkLst>
          <pc:docMk/>
          <pc:sldMk cId="1291511587" sldId="2445"/>
        </pc:sldMkLst>
      </pc:sldChg>
    </pc:docChg>
  </pc:docChgLst>
  <pc:docChgLst>
    <pc:chgData name="Alvaro Mier Fernandez" userId="S::amierfer@emeal.nttdata.com::c642f8e6-b31e-4af5-bb23-25d9263e6664" providerId="AD" clId="Web-{428849A9-27A8-3D98-AD46-332C9D2BEA1B}"/>
    <pc:docChg chg="addSld delSld modSld modSection">
      <pc:chgData name="Alvaro Mier Fernandez" userId="S::amierfer@emeal.nttdata.com::c642f8e6-b31e-4af5-bb23-25d9263e6664" providerId="AD" clId="Web-{428849A9-27A8-3D98-AD46-332C9D2BEA1B}" dt="2022-05-03T10:38:35.773" v="43"/>
      <pc:docMkLst>
        <pc:docMk/>
      </pc:docMkLst>
      <pc:sldChg chg="modSp">
        <pc:chgData name="Alvaro Mier Fernandez" userId="S::amierfer@emeal.nttdata.com::c642f8e6-b31e-4af5-bb23-25d9263e6664" providerId="AD" clId="Web-{428849A9-27A8-3D98-AD46-332C9D2BEA1B}" dt="2022-05-03T06:21:57.112" v="0" actId="20577"/>
        <pc:sldMkLst>
          <pc:docMk/>
          <pc:sldMk cId="3296295457" sldId="2449"/>
        </pc:sldMkLst>
        <pc:spChg chg="mod">
          <ac:chgData name="Alvaro Mier Fernandez" userId="S::amierfer@emeal.nttdata.com::c642f8e6-b31e-4af5-bb23-25d9263e6664" providerId="AD" clId="Web-{428849A9-27A8-3D98-AD46-332C9D2BEA1B}" dt="2022-05-03T06:21:57.112" v="0" actId="20577"/>
          <ac:spMkLst>
            <pc:docMk/>
            <pc:sldMk cId="3296295457" sldId="2449"/>
            <ac:spMk id="28" creationId="{DD453CE2-6FED-4720-8043-DBD1D2185AE1}"/>
          </ac:spMkLst>
        </pc:spChg>
      </pc:sldChg>
      <pc:sldChg chg="modSp">
        <pc:chgData name="Alvaro Mier Fernandez" userId="S::amierfer@emeal.nttdata.com::c642f8e6-b31e-4af5-bb23-25d9263e6664" providerId="AD" clId="Web-{428849A9-27A8-3D98-AD46-332C9D2BEA1B}" dt="2022-05-03T06:22:15.768" v="3" actId="20577"/>
        <pc:sldMkLst>
          <pc:docMk/>
          <pc:sldMk cId="3678979713" sldId="2451"/>
        </pc:sldMkLst>
        <pc:spChg chg="mod">
          <ac:chgData name="Alvaro Mier Fernandez" userId="S::amierfer@emeal.nttdata.com::c642f8e6-b31e-4af5-bb23-25d9263e6664" providerId="AD" clId="Web-{428849A9-27A8-3D98-AD46-332C9D2BEA1B}" dt="2022-05-03T06:22:15.768" v="3" actId="20577"/>
          <ac:spMkLst>
            <pc:docMk/>
            <pc:sldMk cId="3678979713" sldId="2451"/>
            <ac:spMk id="28" creationId="{DD453CE2-6FED-4720-8043-DBD1D2185AE1}"/>
          </ac:spMkLst>
        </pc:spChg>
      </pc:sldChg>
      <pc:sldChg chg="addSp delSp modSp">
        <pc:chgData name="Alvaro Mier Fernandez" userId="S::amierfer@emeal.nttdata.com::c642f8e6-b31e-4af5-bb23-25d9263e6664" providerId="AD" clId="Web-{428849A9-27A8-3D98-AD46-332C9D2BEA1B}" dt="2022-05-03T08:26:49.975" v="33" actId="14100"/>
        <pc:sldMkLst>
          <pc:docMk/>
          <pc:sldMk cId="690253003" sldId="2467"/>
        </pc:sldMkLst>
        <pc:spChg chg="add del mod">
          <ac:chgData name="Alvaro Mier Fernandez" userId="S::amierfer@emeal.nttdata.com::c642f8e6-b31e-4af5-bb23-25d9263e6664" providerId="AD" clId="Web-{428849A9-27A8-3D98-AD46-332C9D2BEA1B}" dt="2022-05-03T08:26:11.896" v="26"/>
          <ac:spMkLst>
            <pc:docMk/>
            <pc:sldMk cId="690253003" sldId="2467"/>
            <ac:spMk id="4" creationId="{E6C7F66E-EF45-43D8-DFF7-10C81E8DBA3D}"/>
          </ac:spMkLst>
        </pc:spChg>
        <pc:picChg chg="del">
          <ac:chgData name="Alvaro Mier Fernandez" userId="S::amierfer@emeal.nttdata.com::c642f8e6-b31e-4af5-bb23-25d9263e6664" providerId="AD" clId="Web-{428849A9-27A8-3D98-AD46-332C9D2BEA1B}" dt="2022-05-03T08:26:08.209" v="23"/>
          <ac:picMkLst>
            <pc:docMk/>
            <pc:sldMk cId="690253003" sldId="2467"/>
            <ac:picMk id="2" creationId="{27411868-EA3D-A26E-D3B6-6199396643A2}"/>
          </ac:picMkLst>
        </pc:picChg>
        <pc:picChg chg="add del mod">
          <ac:chgData name="Alvaro Mier Fernandez" userId="S::amierfer@emeal.nttdata.com::c642f8e6-b31e-4af5-bb23-25d9263e6664" providerId="AD" clId="Web-{428849A9-27A8-3D98-AD46-332C9D2BEA1B}" dt="2022-05-03T08:26:32.819" v="28"/>
          <ac:picMkLst>
            <pc:docMk/>
            <pc:sldMk cId="690253003" sldId="2467"/>
            <ac:picMk id="6" creationId="{1C90FA85-BBB7-D20F-BA6B-D7B1F8BFA4C7}"/>
          </ac:picMkLst>
        </pc:picChg>
        <pc:picChg chg="add mod">
          <ac:chgData name="Alvaro Mier Fernandez" userId="S::amierfer@emeal.nttdata.com::c642f8e6-b31e-4af5-bb23-25d9263e6664" providerId="AD" clId="Web-{428849A9-27A8-3D98-AD46-332C9D2BEA1B}" dt="2022-05-03T08:26:49.975" v="33" actId="14100"/>
          <ac:picMkLst>
            <pc:docMk/>
            <pc:sldMk cId="690253003" sldId="2467"/>
            <ac:picMk id="7" creationId="{B49FEC91-0E09-804B-D682-6EDCE80C2E72}"/>
          </ac:picMkLst>
        </pc:picChg>
      </pc:sldChg>
      <pc:sldChg chg="addSp delSp modSp">
        <pc:chgData name="Alvaro Mier Fernandez" userId="S::amierfer@emeal.nttdata.com::c642f8e6-b31e-4af5-bb23-25d9263e6664" providerId="AD" clId="Web-{428849A9-27A8-3D98-AD46-332C9D2BEA1B}" dt="2022-05-03T08:27:21.538" v="39" actId="14100"/>
        <pc:sldMkLst>
          <pc:docMk/>
          <pc:sldMk cId="345306303" sldId="2468"/>
        </pc:sldMkLst>
        <pc:picChg chg="add del mod">
          <ac:chgData name="Alvaro Mier Fernandez" userId="S::amierfer@emeal.nttdata.com::c642f8e6-b31e-4af5-bb23-25d9263e6664" providerId="AD" clId="Web-{428849A9-27A8-3D98-AD46-332C9D2BEA1B}" dt="2022-05-03T06:27:03.649" v="15"/>
          <ac:picMkLst>
            <pc:docMk/>
            <pc:sldMk cId="345306303" sldId="2468"/>
            <ac:picMk id="2" creationId="{033888D4-C5A3-7B41-2E10-F66C2B9E8253}"/>
          </ac:picMkLst>
        </pc:picChg>
        <pc:picChg chg="add mod">
          <ac:chgData name="Alvaro Mier Fernandez" userId="S::amierfer@emeal.nttdata.com::c642f8e6-b31e-4af5-bb23-25d9263e6664" providerId="AD" clId="Web-{428849A9-27A8-3D98-AD46-332C9D2BEA1B}" dt="2022-05-03T08:27:21.538" v="39" actId="14100"/>
          <ac:picMkLst>
            <pc:docMk/>
            <pc:sldMk cId="345306303" sldId="2468"/>
            <ac:picMk id="2" creationId="{ACED96A7-03E8-30E5-E2EE-1ED04914CD6A}"/>
          </ac:picMkLst>
        </pc:picChg>
        <pc:picChg chg="del">
          <ac:chgData name="Alvaro Mier Fernandez" userId="S::amierfer@emeal.nttdata.com::c642f8e6-b31e-4af5-bb23-25d9263e6664" providerId="AD" clId="Web-{428849A9-27A8-3D98-AD46-332C9D2BEA1B}" dt="2022-05-03T06:26:53.430" v="11"/>
          <ac:picMkLst>
            <pc:docMk/>
            <pc:sldMk cId="345306303" sldId="2468"/>
            <ac:picMk id="4" creationId="{DB8A4107-8E85-F686-0400-AF7DE70744CD}"/>
          </ac:picMkLst>
        </pc:picChg>
        <pc:picChg chg="add del mod">
          <ac:chgData name="Alvaro Mier Fernandez" userId="S::amierfer@emeal.nttdata.com::c642f8e6-b31e-4af5-bb23-25d9263e6664" providerId="AD" clId="Web-{428849A9-27A8-3D98-AD46-332C9D2BEA1B}" dt="2022-05-03T08:27:14.929" v="36"/>
          <ac:picMkLst>
            <pc:docMk/>
            <pc:sldMk cId="345306303" sldId="2468"/>
            <ac:picMk id="6" creationId="{E35463C7-1E9A-1B11-1766-53581BBDB3A6}"/>
          </ac:picMkLst>
        </pc:picChg>
      </pc:sldChg>
      <pc:sldChg chg="addSp delSp modSp add replId">
        <pc:chgData name="Alvaro Mier Fernandez" userId="S::amierfer@emeal.nttdata.com::c642f8e6-b31e-4af5-bb23-25d9263e6664" providerId="AD" clId="Web-{428849A9-27A8-3D98-AD46-332C9D2BEA1B}" dt="2022-05-03T06:24:00.411" v="10" actId="14100"/>
        <pc:sldMkLst>
          <pc:docMk/>
          <pc:sldMk cId="2459267998" sldId="2470"/>
        </pc:sldMkLst>
        <pc:spChg chg="mod">
          <ac:chgData name="Alvaro Mier Fernandez" userId="S::amierfer@emeal.nttdata.com::c642f8e6-b31e-4af5-bb23-25d9263e6664" providerId="AD" clId="Web-{428849A9-27A8-3D98-AD46-332C9D2BEA1B}" dt="2022-05-03T06:22:10.612" v="2" actId="20577"/>
          <ac:spMkLst>
            <pc:docMk/>
            <pc:sldMk cId="2459267998" sldId="2470"/>
            <ac:spMk id="28" creationId="{DD453CE2-6FED-4720-8043-DBD1D2185AE1}"/>
          </ac:spMkLst>
        </pc:spChg>
        <pc:picChg chg="add mod">
          <ac:chgData name="Alvaro Mier Fernandez" userId="S::amierfer@emeal.nttdata.com::c642f8e6-b31e-4af5-bb23-25d9263e6664" providerId="AD" clId="Web-{428849A9-27A8-3D98-AD46-332C9D2BEA1B}" dt="2022-05-03T06:24:00.411" v="10" actId="14100"/>
          <ac:picMkLst>
            <pc:docMk/>
            <pc:sldMk cId="2459267998" sldId="2470"/>
            <ac:picMk id="2" creationId="{EB9455FF-4DE1-2E22-D1B2-B81D38466A45}"/>
          </ac:picMkLst>
        </pc:picChg>
        <pc:picChg chg="del">
          <ac:chgData name="Alvaro Mier Fernandez" userId="S::amierfer@emeal.nttdata.com::c642f8e6-b31e-4af5-bb23-25d9263e6664" providerId="AD" clId="Web-{428849A9-27A8-3D98-AD46-332C9D2BEA1B}" dt="2022-05-03T06:22:16.971" v="4"/>
          <ac:picMkLst>
            <pc:docMk/>
            <pc:sldMk cId="2459267998" sldId="2470"/>
            <ac:picMk id="4" creationId="{00000000-0000-0000-0000-000000000000}"/>
          </ac:picMkLst>
        </pc:picChg>
      </pc:sldChg>
      <pc:sldChg chg="add del replId">
        <pc:chgData name="Alvaro Mier Fernandez" userId="S::amierfer@emeal.nttdata.com::c642f8e6-b31e-4af5-bb23-25d9263e6664" providerId="AD" clId="Web-{428849A9-27A8-3D98-AD46-332C9D2BEA1B}" dt="2022-05-03T06:27:21.634" v="17"/>
        <pc:sldMkLst>
          <pc:docMk/>
          <pc:sldMk cId="551319723" sldId="2471"/>
        </pc:sldMkLst>
      </pc:sldChg>
      <pc:sldChg chg="addSp delSp modSp new del">
        <pc:chgData name="Alvaro Mier Fernandez" userId="S::amierfer@emeal.nttdata.com::c642f8e6-b31e-4af5-bb23-25d9263e6664" providerId="AD" clId="Web-{428849A9-27A8-3D98-AD46-332C9D2BEA1B}" dt="2022-05-03T08:27:27.398" v="40"/>
        <pc:sldMkLst>
          <pc:docMk/>
          <pc:sldMk cId="283415487" sldId="2476"/>
        </pc:sldMkLst>
        <pc:spChg chg="del">
          <ac:chgData name="Alvaro Mier Fernandez" userId="S::amierfer@emeal.nttdata.com::c642f8e6-b31e-4af5-bb23-25d9263e6664" providerId="AD" clId="Web-{428849A9-27A8-3D98-AD46-332C9D2BEA1B}" dt="2022-05-03T08:26:40.147" v="30"/>
          <ac:spMkLst>
            <pc:docMk/>
            <pc:sldMk cId="283415487" sldId="2476"/>
            <ac:spMk id="3" creationId="{D823758D-C302-6717-028E-285990CCCDA1}"/>
          </ac:spMkLst>
        </pc:spChg>
        <pc:spChg chg="add del mod">
          <ac:chgData name="Alvaro Mier Fernandez" userId="S::amierfer@emeal.nttdata.com::c642f8e6-b31e-4af5-bb23-25d9263e6664" providerId="AD" clId="Web-{428849A9-27A8-3D98-AD46-332C9D2BEA1B}" dt="2022-05-03T08:27:10.819" v="35"/>
          <ac:spMkLst>
            <pc:docMk/>
            <pc:sldMk cId="283415487" sldId="2476"/>
            <ac:spMk id="7" creationId="{C4D28AD5-ED35-212B-053C-DF7007F12791}"/>
          </ac:spMkLst>
        </pc:spChg>
        <pc:picChg chg="add del mod ord">
          <ac:chgData name="Alvaro Mier Fernandez" userId="S::amierfer@emeal.nttdata.com::c642f8e6-b31e-4af5-bb23-25d9263e6664" providerId="AD" clId="Web-{428849A9-27A8-3D98-AD46-332C9D2BEA1B}" dt="2022-05-03T08:26:58.522" v="34"/>
          <ac:picMkLst>
            <pc:docMk/>
            <pc:sldMk cId="283415487" sldId="2476"/>
            <ac:picMk id="5" creationId="{9219A61B-7F32-C925-C9B2-136A2E607B3B}"/>
          </ac:picMkLst>
        </pc:picChg>
        <pc:picChg chg="add mod ord">
          <ac:chgData name="Alvaro Mier Fernandez" userId="S::amierfer@emeal.nttdata.com::c642f8e6-b31e-4af5-bb23-25d9263e6664" providerId="AD" clId="Web-{428849A9-27A8-3D98-AD46-332C9D2BEA1B}" dt="2022-05-03T08:27:10.819" v="35"/>
          <ac:picMkLst>
            <pc:docMk/>
            <pc:sldMk cId="283415487" sldId="2476"/>
            <ac:picMk id="8" creationId="{697E1A95-7EA0-FBF4-C9F5-4CECC35338AA}"/>
          </ac:picMkLst>
        </pc:picChg>
      </pc:sldChg>
      <pc:sldChg chg="delSp modSp add replId">
        <pc:chgData name="Alvaro Mier Fernandez" userId="S::amierfer@emeal.nttdata.com::c642f8e6-b31e-4af5-bb23-25d9263e6664" providerId="AD" clId="Web-{428849A9-27A8-3D98-AD46-332C9D2BEA1B}" dt="2022-05-03T10:38:35.773" v="43"/>
        <pc:sldMkLst>
          <pc:docMk/>
          <pc:sldMk cId="2318983312" sldId="2483"/>
        </pc:sldMkLst>
        <pc:spChg chg="mod">
          <ac:chgData name="Alvaro Mier Fernandez" userId="S::amierfer@emeal.nttdata.com::c642f8e6-b31e-4af5-bb23-25d9263e6664" providerId="AD" clId="Web-{428849A9-27A8-3D98-AD46-332C9D2BEA1B}" dt="2022-05-03T10:38:34.758" v="42" actId="20577"/>
          <ac:spMkLst>
            <pc:docMk/>
            <pc:sldMk cId="2318983312" sldId="2483"/>
            <ac:spMk id="28" creationId="{DD453CE2-6FED-4720-8043-DBD1D2185AE1}"/>
          </ac:spMkLst>
        </pc:spChg>
        <pc:picChg chg="del">
          <ac:chgData name="Alvaro Mier Fernandez" userId="S::amierfer@emeal.nttdata.com::c642f8e6-b31e-4af5-bb23-25d9263e6664" providerId="AD" clId="Web-{428849A9-27A8-3D98-AD46-332C9D2BEA1B}" dt="2022-05-03T10:38:35.773" v="43"/>
          <ac:picMkLst>
            <pc:docMk/>
            <pc:sldMk cId="2318983312" sldId="2483"/>
            <ac:picMk id="2" creationId="{F5DDCA36-05D0-C425-B766-0F767A6FD6BC}"/>
          </ac:picMkLst>
        </pc:picChg>
      </pc:sldChg>
    </pc:docChg>
  </pc:docChgLst>
  <pc:docChgLst>
    <pc:chgData name="Javier Vivas Carlos" userId="S::jvivasca@emeal.nttdata.com::b7e8403b-d7e5-4f09-8c6d-23e90274941f" providerId="AD" clId="Web-{83B2F174-DB8D-350B-BDDD-078253C8C2B8}"/>
    <pc:docChg chg="modSld">
      <pc:chgData name="Javier Vivas Carlos" userId="S::jvivasca@emeal.nttdata.com::b7e8403b-d7e5-4f09-8c6d-23e90274941f" providerId="AD" clId="Web-{83B2F174-DB8D-350B-BDDD-078253C8C2B8}" dt="2022-01-25T11:09:45.266" v="248" actId="1076"/>
      <pc:docMkLst>
        <pc:docMk/>
      </pc:docMkLst>
      <pc:sldChg chg="modSp">
        <pc:chgData name="Javier Vivas Carlos" userId="S::jvivasca@emeal.nttdata.com::b7e8403b-d7e5-4f09-8c6d-23e90274941f" providerId="AD" clId="Web-{83B2F174-DB8D-350B-BDDD-078253C8C2B8}" dt="2022-01-25T11:09:45.266" v="248" actId="1076"/>
        <pc:sldMkLst>
          <pc:docMk/>
          <pc:sldMk cId="396485121" sldId="2373"/>
        </pc:sldMkLst>
        <pc:graphicFrameChg chg="mod modGraphic">
          <ac:chgData name="Javier Vivas Carlos" userId="S::jvivasca@emeal.nttdata.com::b7e8403b-d7e5-4f09-8c6d-23e90274941f" providerId="AD" clId="Web-{83B2F174-DB8D-350B-BDDD-078253C8C2B8}" dt="2022-01-25T11:09:45.266" v="248" actId="1076"/>
          <ac:graphicFrameMkLst>
            <pc:docMk/>
            <pc:sldMk cId="396485121" sldId="2373"/>
            <ac:graphicFrameMk id="73" creationId="{EC078648-D5FD-4F43-9B62-0087E78752A5}"/>
          </ac:graphicFrameMkLst>
        </pc:graphicFrameChg>
      </pc:sldChg>
      <pc:sldChg chg="modSp">
        <pc:chgData name="Javier Vivas Carlos" userId="S::jvivasca@emeal.nttdata.com::b7e8403b-d7e5-4f09-8c6d-23e90274941f" providerId="AD" clId="Web-{83B2F174-DB8D-350B-BDDD-078253C8C2B8}" dt="2022-01-25T10:58:11.808" v="44" actId="20577"/>
        <pc:sldMkLst>
          <pc:docMk/>
          <pc:sldMk cId="2543640117" sldId="2386"/>
        </pc:sldMkLst>
        <pc:spChg chg="mod">
          <ac:chgData name="Javier Vivas Carlos" userId="S::jvivasca@emeal.nttdata.com::b7e8403b-d7e5-4f09-8c6d-23e90274941f" providerId="AD" clId="Web-{83B2F174-DB8D-350B-BDDD-078253C8C2B8}" dt="2022-01-25T10:55:38.898" v="42" actId="20577"/>
          <ac:spMkLst>
            <pc:docMk/>
            <pc:sldMk cId="2543640117" sldId="2386"/>
            <ac:spMk id="26" creationId="{06D9A957-8606-458C-9857-AFBBEFC09D88}"/>
          </ac:spMkLst>
        </pc:spChg>
        <pc:spChg chg="mod">
          <ac:chgData name="Javier Vivas Carlos" userId="S::jvivasca@emeal.nttdata.com::b7e8403b-d7e5-4f09-8c6d-23e90274941f" providerId="AD" clId="Web-{83B2F174-DB8D-350B-BDDD-078253C8C2B8}" dt="2022-01-25T10:58:11.808" v="44" actId="20577"/>
          <ac:spMkLst>
            <pc:docMk/>
            <pc:sldMk cId="2543640117" sldId="2386"/>
            <ac:spMk id="28" creationId="{DD453CE2-6FED-4720-8043-DBD1D2185AE1}"/>
          </ac:spMkLst>
        </pc:spChg>
        <pc:picChg chg="mod">
          <ac:chgData name="Javier Vivas Carlos" userId="S::jvivasca@emeal.nttdata.com::b7e8403b-d7e5-4f09-8c6d-23e90274941f" providerId="AD" clId="Web-{83B2F174-DB8D-350B-BDDD-078253C8C2B8}" dt="2022-01-25T10:54:07.426" v="32" actId="1076"/>
          <ac:picMkLst>
            <pc:docMk/>
            <pc:sldMk cId="2543640117" sldId="2386"/>
            <ac:picMk id="17" creationId="{7494EEB2-4D1B-48AC-85AF-5541DD396ECC}"/>
          </ac:picMkLst>
        </pc:picChg>
        <pc:picChg chg="mod">
          <ac:chgData name="Javier Vivas Carlos" userId="S::jvivasca@emeal.nttdata.com::b7e8403b-d7e5-4f09-8c6d-23e90274941f" providerId="AD" clId="Web-{83B2F174-DB8D-350B-BDDD-078253C8C2B8}" dt="2022-01-25T10:54:19.864" v="40" actId="1076"/>
          <ac:picMkLst>
            <pc:docMk/>
            <pc:sldMk cId="2543640117" sldId="2386"/>
            <ac:picMk id="18" creationId="{F00A22AB-3CCC-46F0-9CC5-825B91588D98}"/>
          </ac:picMkLst>
        </pc:picChg>
        <pc:picChg chg="mod">
          <ac:chgData name="Javier Vivas Carlos" userId="S::jvivasca@emeal.nttdata.com::b7e8403b-d7e5-4f09-8c6d-23e90274941f" providerId="AD" clId="Web-{83B2F174-DB8D-350B-BDDD-078253C8C2B8}" dt="2022-01-25T10:54:07.567" v="33" actId="1076"/>
          <ac:picMkLst>
            <pc:docMk/>
            <pc:sldMk cId="2543640117" sldId="2386"/>
            <ac:picMk id="19" creationId="{EA09EAED-72CA-42D2-A535-D012591CDDA5}"/>
          </ac:picMkLst>
        </pc:picChg>
        <pc:picChg chg="mod">
          <ac:chgData name="Javier Vivas Carlos" userId="S::jvivasca@emeal.nttdata.com::b7e8403b-d7e5-4f09-8c6d-23e90274941f" providerId="AD" clId="Web-{83B2F174-DB8D-350B-BDDD-078253C8C2B8}" dt="2022-01-25T10:54:07.723" v="34" actId="1076"/>
          <ac:picMkLst>
            <pc:docMk/>
            <pc:sldMk cId="2543640117" sldId="2386"/>
            <ac:picMk id="20" creationId="{5F252840-16E9-4C2B-91BC-BC961B883B8B}"/>
          </ac:picMkLst>
        </pc:picChg>
        <pc:picChg chg="mod">
          <ac:chgData name="Javier Vivas Carlos" userId="S::jvivasca@emeal.nttdata.com::b7e8403b-d7e5-4f09-8c6d-23e90274941f" providerId="AD" clId="Web-{83B2F174-DB8D-350B-BDDD-078253C8C2B8}" dt="2022-01-25T10:54:07.879" v="35" actId="1076"/>
          <ac:picMkLst>
            <pc:docMk/>
            <pc:sldMk cId="2543640117" sldId="2386"/>
            <ac:picMk id="23" creationId="{AFA66CF7-003A-452D-8373-73DE2FFCBC50}"/>
          </ac:picMkLst>
        </pc:picChg>
      </pc:sldChg>
    </pc:docChg>
  </pc:docChgLst>
  <pc:docChgLst>
    <pc:chgData name="Alvaro Mier Fernandez" userId="S::amierfer@emeal.nttdata.com::c642f8e6-b31e-4af5-bb23-25d9263e6664" providerId="AD" clId="Web-{6741846F-A4FD-2E67-9947-DBD59AB21D54}"/>
    <pc:docChg chg="modSld">
      <pc:chgData name="Alvaro Mier Fernandez" userId="S::amierfer@emeal.nttdata.com::c642f8e6-b31e-4af5-bb23-25d9263e6664" providerId="AD" clId="Web-{6741846F-A4FD-2E67-9947-DBD59AB21D54}" dt="2022-05-03T10:46:24.506" v="11"/>
      <pc:docMkLst>
        <pc:docMk/>
      </pc:docMkLst>
      <pc:sldChg chg="addSp delSp modSp">
        <pc:chgData name="Alvaro Mier Fernandez" userId="S::amierfer@emeal.nttdata.com::c642f8e6-b31e-4af5-bb23-25d9263e6664" providerId="AD" clId="Web-{6741846F-A4FD-2E67-9947-DBD59AB21D54}" dt="2022-05-03T10:46:24.506" v="11"/>
        <pc:sldMkLst>
          <pc:docMk/>
          <pc:sldMk cId="2318983312" sldId="2483"/>
        </pc:sldMkLst>
        <pc:picChg chg="add del mod">
          <ac:chgData name="Alvaro Mier Fernandez" userId="S::amierfer@emeal.nttdata.com::c642f8e6-b31e-4af5-bb23-25d9263e6664" providerId="AD" clId="Web-{6741846F-A4FD-2E67-9947-DBD59AB21D54}" dt="2022-05-03T10:43:47.393" v="3"/>
          <ac:picMkLst>
            <pc:docMk/>
            <pc:sldMk cId="2318983312" sldId="2483"/>
            <ac:picMk id="2" creationId="{62C79A58-4A45-C238-1FE6-E3210C1FAE6B}"/>
          </ac:picMkLst>
        </pc:picChg>
        <pc:picChg chg="add del mod">
          <ac:chgData name="Alvaro Mier Fernandez" userId="S::amierfer@emeal.nttdata.com::c642f8e6-b31e-4af5-bb23-25d9263e6664" providerId="AD" clId="Web-{6741846F-A4FD-2E67-9947-DBD59AB21D54}" dt="2022-05-03T10:46:24.506" v="11"/>
          <ac:picMkLst>
            <pc:docMk/>
            <pc:sldMk cId="2318983312" sldId="2483"/>
            <ac:picMk id="4" creationId="{36CDB879-456F-D923-FCA8-F931D7F3E1F4}"/>
          </ac:picMkLst>
        </pc:picChg>
      </pc:sldChg>
    </pc:docChg>
  </pc:docChgLst>
  <pc:docChgLst>
    <pc:chgData name="Ana Isabel Silla Cortes" userId="S::asillaco@emeal.nttdata.com::b546b5c1-2aeb-468b-a361-4830835db4b0" providerId="AD" clId="Web-{4E1C78AF-8430-408A-8BF7-ABA1557DA64F}"/>
    <pc:docChg chg="addSld delSld modSld sldOrd modSection">
      <pc:chgData name="Ana Isabel Silla Cortes" userId="S::asillaco@emeal.nttdata.com::b546b5c1-2aeb-468b-a361-4830835db4b0" providerId="AD" clId="Web-{4E1C78AF-8430-408A-8BF7-ABA1557DA64F}" dt="2022-05-03T08:37:43.747" v="273" actId="1076"/>
      <pc:docMkLst>
        <pc:docMk/>
      </pc:docMkLst>
      <pc:sldChg chg="modSp">
        <pc:chgData name="Ana Isabel Silla Cortes" userId="S::asillaco@emeal.nttdata.com::b546b5c1-2aeb-468b-a361-4830835db4b0" providerId="AD" clId="Web-{4E1C78AF-8430-408A-8BF7-ABA1557DA64F}" dt="2022-05-03T08:30:17.277" v="270" actId="20577"/>
        <pc:sldMkLst>
          <pc:docMk/>
          <pc:sldMk cId="3296295457" sldId="2449"/>
        </pc:sldMkLst>
        <pc:spChg chg="mod">
          <ac:chgData name="Ana Isabel Silla Cortes" userId="S::asillaco@emeal.nttdata.com::b546b5c1-2aeb-468b-a361-4830835db4b0" providerId="AD" clId="Web-{4E1C78AF-8430-408A-8BF7-ABA1557DA64F}" dt="2022-05-03T08:30:17.277" v="270" actId="20577"/>
          <ac:spMkLst>
            <pc:docMk/>
            <pc:sldMk cId="3296295457" sldId="2449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4E1C78AF-8430-408A-8BF7-ABA1557DA64F}" dt="2022-05-03T08:30:25.340" v="271" actId="20577"/>
        <pc:sldMkLst>
          <pc:docMk/>
          <pc:sldMk cId="3678979713" sldId="2451"/>
        </pc:sldMkLst>
        <pc:spChg chg="mod">
          <ac:chgData name="Ana Isabel Silla Cortes" userId="S::asillaco@emeal.nttdata.com::b546b5c1-2aeb-468b-a361-4830835db4b0" providerId="AD" clId="Web-{4E1C78AF-8430-408A-8BF7-ABA1557DA64F}" dt="2022-05-03T08:30:25.340" v="271" actId="20577"/>
          <ac:spMkLst>
            <pc:docMk/>
            <pc:sldMk cId="3678979713" sldId="2451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4E1C78AF-8430-408A-8BF7-ABA1557DA64F}" dt="2022-05-03T08:05:15.756" v="39" actId="20577"/>
        <pc:sldMkLst>
          <pc:docMk/>
          <pc:sldMk cId="1751334457" sldId="2457"/>
        </pc:sldMkLst>
        <pc:spChg chg="mod">
          <ac:chgData name="Ana Isabel Silla Cortes" userId="S::asillaco@emeal.nttdata.com::b546b5c1-2aeb-468b-a361-4830835db4b0" providerId="AD" clId="Web-{4E1C78AF-8430-408A-8BF7-ABA1557DA64F}" dt="2022-05-03T08:05:15.756" v="39" actId="20577"/>
          <ac:spMkLst>
            <pc:docMk/>
            <pc:sldMk cId="1751334457" sldId="2457"/>
            <ac:spMk id="20" creationId="{EE2EB87E-F264-4765-9C66-FE84E21A3B66}"/>
          </ac:spMkLst>
        </pc:spChg>
      </pc:sldChg>
      <pc:sldChg chg="del">
        <pc:chgData name="Ana Isabel Silla Cortes" userId="S::asillaco@emeal.nttdata.com::b546b5c1-2aeb-468b-a361-4830835db4b0" providerId="AD" clId="Web-{4E1C78AF-8430-408A-8BF7-ABA1557DA64F}" dt="2022-05-03T08:02:26.806" v="0"/>
        <pc:sldMkLst>
          <pc:docMk/>
          <pc:sldMk cId="3660261702" sldId="2458"/>
        </pc:sldMkLst>
      </pc:sldChg>
      <pc:sldChg chg="modSp">
        <pc:chgData name="Ana Isabel Silla Cortes" userId="S::asillaco@emeal.nttdata.com::b546b5c1-2aeb-468b-a361-4830835db4b0" providerId="AD" clId="Web-{4E1C78AF-8430-408A-8BF7-ABA1557DA64F}" dt="2022-05-03T08:04:50.957" v="21" actId="20577"/>
        <pc:sldMkLst>
          <pc:docMk/>
          <pc:sldMk cId="1279992823" sldId="2464"/>
        </pc:sldMkLst>
        <pc:spChg chg="mod">
          <ac:chgData name="Ana Isabel Silla Cortes" userId="S::asillaco@emeal.nttdata.com::b546b5c1-2aeb-468b-a361-4830835db4b0" providerId="AD" clId="Web-{4E1C78AF-8430-408A-8BF7-ABA1557DA64F}" dt="2022-05-03T08:04:50.957" v="21" actId="20577"/>
          <ac:spMkLst>
            <pc:docMk/>
            <pc:sldMk cId="1279992823" sldId="2464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4E1C78AF-8430-408A-8BF7-ABA1557DA64F}" dt="2022-05-03T08:05:40.445" v="46" actId="20577"/>
        <pc:sldMkLst>
          <pc:docMk/>
          <pc:sldMk cId="3857956232" sldId="2465"/>
        </pc:sldMkLst>
        <pc:spChg chg="mod">
          <ac:chgData name="Ana Isabel Silla Cortes" userId="S::asillaco@emeal.nttdata.com::b546b5c1-2aeb-468b-a361-4830835db4b0" providerId="AD" clId="Web-{4E1C78AF-8430-408A-8BF7-ABA1557DA64F}" dt="2022-05-03T08:05:40.445" v="46" actId="20577"/>
          <ac:spMkLst>
            <pc:docMk/>
            <pc:sldMk cId="3857956232" sldId="2465"/>
            <ac:spMk id="28" creationId="{DD453CE2-6FED-4720-8043-DBD1D2185AE1}"/>
          </ac:spMkLst>
        </pc:spChg>
      </pc:sldChg>
      <pc:sldChg chg="addSp delSp modSp">
        <pc:chgData name="Ana Isabel Silla Cortes" userId="S::asillaco@emeal.nttdata.com::b546b5c1-2aeb-468b-a361-4830835db4b0" providerId="AD" clId="Web-{4E1C78AF-8430-408A-8BF7-ABA1557DA64F}" dt="2022-05-03T08:10:29.060" v="72" actId="14100"/>
        <pc:sldMkLst>
          <pc:docMk/>
          <pc:sldMk cId="4294139447" sldId="2466"/>
        </pc:sldMkLst>
        <pc:spChg chg="mod">
          <ac:chgData name="Ana Isabel Silla Cortes" userId="S::asillaco@emeal.nttdata.com::b546b5c1-2aeb-468b-a361-4830835db4b0" providerId="AD" clId="Web-{4E1C78AF-8430-408A-8BF7-ABA1557DA64F}" dt="2022-05-03T08:05:51.759" v="56" actId="20577"/>
          <ac:spMkLst>
            <pc:docMk/>
            <pc:sldMk cId="4294139447" sldId="2466"/>
            <ac:spMk id="28" creationId="{DD453CE2-6FED-4720-8043-DBD1D2185AE1}"/>
          </ac:spMkLst>
        </pc:spChg>
        <pc:picChg chg="add del mod">
          <ac:chgData name="Ana Isabel Silla Cortes" userId="S::asillaco@emeal.nttdata.com::b546b5c1-2aeb-468b-a361-4830835db4b0" providerId="AD" clId="Web-{4E1C78AF-8430-408A-8BF7-ABA1557DA64F}" dt="2022-05-03T08:09:28.743" v="59"/>
          <ac:picMkLst>
            <pc:docMk/>
            <pc:sldMk cId="4294139447" sldId="2466"/>
            <ac:picMk id="2" creationId="{097C7FC3-90DF-EC07-B385-AE9028058A17}"/>
          </ac:picMkLst>
        </pc:picChg>
        <pc:picChg chg="del">
          <ac:chgData name="Ana Isabel Silla Cortes" userId="S::asillaco@emeal.nttdata.com::b546b5c1-2aeb-468b-a361-4830835db4b0" providerId="AD" clId="Web-{4E1C78AF-8430-408A-8BF7-ABA1557DA64F}" dt="2022-05-03T08:09:23.446" v="57"/>
          <ac:picMkLst>
            <pc:docMk/>
            <pc:sldMk cId="4294139447" sldId="2466"/>
            <ac:picMk id="4" creationId="{1B7BE52B-878D-EF0B-89BB-0EF7B27D3E54}"/>
          </ac:picMkLst>
        </pc:picChg>
        <pc:picChg chg="add mod">
          <ac:chgData name="Ana Isabel Silla Cortes" userId="S::asillaco@emeal.nttdata.com::b546b5c1-2aeb-468b-a361-4830835db4b0" providerId="AD" clId="Web-{4E1C78AF-8430-408A-8BF7-ABA1557DA64F}" dt="2022-05-03T08:10:29.060" v="72" actId="14100"/>
          <ac:picMkLst>
            <pc:docMk/>
            <pc:sldMk cId="4294139447" sldId="2466"/>
            <ac:picMk id="6" creationId="{E426ED54-1FFF-8017-E571-61A5EC48BAC1}"/>
          </ac:picMkLst>
        </pc:picChg>
      </pc:sldChg>
      <pc:sldChg chg="modSp">
        <pc:chgData name="Ana Isabel Silla Cortes" userId="S::asillaco@emeal.nttdata.com::b546b5c1-2aeb-468b-a361-4830835db4b0" providerId="AD" clId="Web-{4E1C78AF-8430-408A-8BF7-ABA1557DA64F}" dt="2022-05-03T08:12:02.082" v="86" actId="20577"/>
        <pc:sldMkLst>
          <pc:docMk/>
          <pc:sldMk cId="690253003" sldId="2467"/>
        </pc:sldMkLst>
        <pc:spChg chg="mod">
          <ac:chgData name="Ana Isabel Silla Cortes" userId="S::asillaco@emeal.nttdata.com::b546b5c1-2aeb-468b-a361-4830835db4b0" providerId="AD" clId="Web-{4E1C78AF-8430-408A-8BF7-ABA1557DA64F}" dt="2022-05-03T08:12:02.082" v="86" actId="20577"/>
          <ac:spMkLst>
            <pc:docMk/>
            <pc:sldMk cId="690253003" sldId="2467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4E1C78AF-8430-408A-8BF7-ABA1557DA64F}" dt="2022-05-03T08:12:16.302" v="95" actId="20577"/>
        <pc:sldMkLst>
          <pc:docMk/>
          <pc:sldMk cId="345306303" sldId="2468"/>
        </pc:sldMkLst>
        <pc:spChg chg="mod">
          <ac:chgData name="Ana Isabel Silla Cortes" userId="S::asillaco@emeal.nttdata.com::b546b5c1-2aeb-468b-a361-4830835db4b0" providerId="AD" clId="Web-{4E1C78AF-8430-408A-8BF7-ABA1557DA64F}" dt="2022-05-03T08:12:16.302" v="95" actId="20577"/>
          <ac:spMkLst>
            <pc:docMk/>
            <pc:sldMk cId="345306303" sldId="2468"/>
            <ac:spMk id="28" creationId="{DD453CE2-6FED-4720-8043-DBD1D2185AE1}"/>
          </ac:spMkLst>
        </pc:spChg>
      </pc:sldChg>
      <pc:sldChg chg="modSp ord">
        <pc:chgData name="Ana Isabel Silla Cortes" userId="S::asillaco@emeal.nttdata.com::b546b5c1-2aeb-468b-a361-4830835db4b0" providerId="AD" clId="Web-{4E1C78AF-8430-408A-8BF7-ABA1557DA64F}" dt="2022-05-03T08:30:05.683" v="269" actId="20577"/>
        <pc:sldMkLst>
          <pc:docMk/>
          <pc:sldMk cId="2459267998" sldId="2470"/>
        </pc:sldMkLst>
        <pc:spChg chg="mod">
          <ac:chgData name="Ana Isabel Silla Cortes" userId="S::asillaco@emeal.nttdata.com::b546b5c1-2aeb-468b-a361-4830835db4b0" providerId="AD" clId="Web-{4E1C78AF-8430-408A-8BF7-ABA1557DA64F}" dt="2022-05-03T08:30:05.683" v="269" actId="20577"/>
          <ac:spMkLst>
            <pc:docMk/>
            <pc:sldMk cId="2459267998" sldId="2470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4E1C78AF-8430-408A-8BF7-ABA1557DA64F}" dt="2022-05-03T08:28:21.988" v="264" actId="20577"/>
        <pc:sldMkLst>
          <pc:docMk/>
          <pc:sldMk cId="854392975" sldId="2471"/>
        </pc:sldMkLst>
        <pc:spChg chg="mod">
          <ac:chgData name="Ana Isabel Silla Cortes" userId="S::asillaco@emeal.nttdata.com::b546b5c1-2aeb-468b-a361-4830835db4b0" providerId="AD" clId="Web-{4E1C78AF-8430-408A-8BF7-ABA1557DA64F}" dt="2022-05-03T08:28:21.988" v="264" actId="20577"/>
          <ac:spMkLst>
            <pc:docMk/>
            <pc:sldMk cId="854392975" sldId="2471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4E1C78AF-8430-408A-8BF7-ABA1557DA64F}" dt="2022-05-03T08:22:25.743" v="169" actId="20577"/>
        <pc:sldMkLst>
          <pc:docMk/>
          <pc:sldMk cId="2448940607" sldId="2472"/>
        </pc:sldMkLst>
        <pc:spChg chg="mod">
          <ac:chgData name="Ana Isabel Silla Cortes" userId="S::asillaco@emeal.nttdata.com::b546b5c1-2aeb-468b-a361-4830835db4b0" providerId="AD" clId="Web-{4E1C78AF-8430-408A-8BF7-ABA1557DA64F}" dt="2022-05-03T08:22:25.743" v="169" actId="20577"/>
          <ac:spMkLst>
            <pc:docMk/>
            <pc:sldMk cId="2448940607" sldId="2472"/>
            <ac:spMk id="28" creationId="{DD453CE2-6FED-4720-8043-DBD1D2185AE1}"/>
          </ac:spMkLst>
        </pc:spChg>
      </pc:sldChg>
      <pc:sldChg chg="modSp ord">
        <pc:chgData name="Ana Isabel Silla Cortes" userId="S::asillaco@emeal.nttdata.com::b546b5c1-2aeb-468b-a361-4830835db4b0" providerId="AD" clId="Web-{4E1C78AF-8430-408A-8BF7-ABA1557DA64F}" dt="2022-05-03T08:23:04.339" v="171"/>
        <pc:sldMkLst>
          <pc:docMk/>
          <pc:sldMk cId="1460187444" sldId="2473"/>
        </pc:sldMkLst>
        <pc:spChg chg="mod">
          <ac:chgData name="Ana Isabel Silla Cortes" userId="S::asillaco@emeal.nttdata.com::b546b5c1-2aeb-468b-a361-4830835db4b0" providerId="AD" clId="Web-{4E1C78AF-8430-408A-8BF7-ABA1557DA64F}" dt="2022-05-03T08:16:24.227" v="167" actId="20577"/>
          <ac:spMkLst>
            <pc:docMk/>
            <pc:sldMk cId="1460187444" sldId="2473"/>
            <ac:spMk id="2" creationId="{4BBBE611-8AAB-382C-0782-56AB5D6BBDFA}"/>
          </ac:spMkLst>
        </pc:spChg>
      </pc:sldChg>
      <pc:sldChg chg="addSp delSp modSp add replId">
        <pc:chgData name="Ana Isabel Silla Cortes" userId="S::asillaco@emeal.nttdata.com::b546b5c1-2aeb-468b-a361-4830835db4b0" providerId="AD" clId="Web-{4E1C78AF-8430-408A-8BF7-ABA1557DA64F}" dt="2022-05-03T08:37:43.747" v="273" actId="1076"/>
        <pc:sldMkLst>
          <pc:docMk/>
          <pc:sldMk cId="1878004782" sldId="2474"/>
        </pc:sldMkLst>
        <pc:spChg chg="del mod">
          <ac:chgData name="Ana Isabel Silla Cortes" userId="S::asillaco@emeal.nttdata.com::b546b5c1-2aeb-468b-a361-4830835db4b0" providerId="AD" clId="Web-{4E1C78AF-8430-408A-8BF7-ABA1557DA64F}" dt="2022-05-03T08:24:01.578" v="208"/>
          <ac:spMkLst>
            <pc:docMk/>
            <pc:sldMk cId="1878004782" sldId="2474"/>
            <ac:spMk id="2" creationId="{4BBBE611-8AAB-382C-0782-56AB5D6BBDFA}"/>
          </ac:spMkLst>
        </pc:spChg>
        <pc:spChg chg="add mod">
          <ac:chgData name="Ana Isabel Silla Cortes" userId="S::asillaco@emeal.nttdata.com::b546b5c1-2aeb-468b-a361-4830835db4b0" providerId="AD" clId="Web-{4E1C78AF-8430-408A-8BF7-ABA1557DA64F}" dt="2022-05-03T08:26:24.354" v="251" actId="20577"/>
          <ac:spMkLst>
            <pc:docMk/>
            <pc:sldMk cId="1878004782" sldId="2474"/>
            <ac:spMk id="11" creationId="{0DE495B2-C8B5-EE61-96CB-522C6E3EA962}"/>
          </ac:spMkLst>
        </pc:spChg>
        <pc:spChg chg="mod">
          <ac:chgData name="Ana Isabel Silla Cortes" userId="S::asillaco@emeal.nttdata.com::b546b5c1-2aeb-468b-a361-4830835db4b0" providerId="AD" clId="Web-{4E1C78AF-8430-408A-8BF7-ABA1557DA64F}" dt="2022-05-03T08:23:55.937" v="205" actId="20577"/>
          <ac:spMkLst>
            <pc:docMk/>
            <pc:sldMk cId="1878004782" sldId="2474"/>
            <ac:spMk id="28" creationId="{DD453CE2-6FED-4720-8043-DBD1D2185AE1}"/>
          </ac:spMkLst>
        </pc:spChg>
        <pc:picChg chg="add del mod">
          <ac:chgData name="Ana Isabel Silla Cortes" userId="S::asillaco@emeal.nttdata.com::b546b5c1-2aeb-468b-a361-4830835db4b0" providerId="AD" clId="Web-{4E1C78AF-8430-408A-8BF7-ABA1557DA64F}" dt="2022-05-03T08:24:19.657" v="210"/>
          <ac:picMkLst>
            <pc:docMk/>
            <pc:sldMk cId="1878004782" sldId="2474"/>
            <ac:picMk id="4" creationId="{84FEC186-7121-0AF9-1DDB-ACED3BCED6F5}"/>
          </ac:picMkLst>
        </pc:picChg>
        <pc:picChg chg="add mod">
          <ac:chgData name="Ana Isabel Silla Cortes" userId="S::asillaco@emeal.nttdata.com::b546b5c1-2aeb-468b-a361-4830835db4b0" providerId="AD" clId="Web-{4E1C78AF-8430-408A-8BF7-ABA1557DA64F}" dt="2022-05-03T08:37:43.747" v="273" actId="1076"/>
          <ac:picMkLst>
            <pc:docMk/>
            <pc:sldMk cId="1878004782" sldId="2474"/>
            <ac:picMk id="6" creationId="{164703B6-8D4F-F5AE-F9F4-D597A13C4D26}"/>
          </ac:picMkLst>
        </pc:picChg>
        <pc:picChg chg="add mod">
          <ac:chgData name="Ana Isabel Silla Cortes" userId="S::asillaco@emeal.nttdata.com::b546b5c1-2aeb-468b-a361-4830835db4b0" providerId="AD" clId="Web-{4E1C78AF-8430-408A-8BF7-ABA1557DA64F}" dt="2022-05-03T08:25:48.601" v="220" actId="1076"/>
          <ac:picMkLst>
            <pc:docMk/>
            <pc:sldMk cId="1878004782" sldId="2474"/>
            <ac:picMk id="7" creationId="{FF13EF9B-6940-F5F9-0108-7C81F05D6B43}"/>
          </ac:picMkLst>
        </pc:picChg>
        <pc:picChg chg="add del">
          <ac:chgData name="Ana Isabel Silla Cortes" userId="S::asillaco@emeal.nttdata.com::b546b5c1-2aeb-468b-a361-4830835db4b0" providerId="AD" clId="Web-{4E1C78AF-8430-408A-8BF7-ABA1557DA64F}" dt="2022-05-03T08:25:52.242" v="222"/>
          <ac:picMkLst>
            <pc:docMk/>
            <pc:sldMk cId="1878004782" sldId="2474"/>
            <ac:picMk id="9" creationId="{9DFBB91C-8BF9-3B63-0CC5-E3AC312D2352}"/>
          </ac:picMkLst>
        </pc:picChg>
      </pc:sldChg>
      <pc:sldChg chg="new del">
        <pc:chgData name="Ana Isabel Silla Cortes" userId="S::asillaco@emeal.nttdata.com::b546b5c1-2aeb-468b-a361-4830835db4b0" providerId="AD" clId="Web-{4E1C78AF-8430-408A-8BF7-ABA1557DA64F}" dt="2022-05-03T08:10:19.012" v="69"/>
        <pc:sldMkLst>
          <pc:docMk/>
          <pc:sldMk cId="2412610040" sldId="2474"/>
        </pc:sldMkLst>
      </pc:sldChg>
      <pc:sldChg chg="addSp delSp modSp new del">
        <pc:chgData name="Ana Isabel Silla Cortes" userId="S::asillaco@emeal.nttdata.com::b546b5c1-2aeb-468b-a361-4830835db4b0" providerId="AD" clId="Web-{4E1C78AF-8430-408A-8BF7-ABA1557DA64F}" dt="2022-05-03T08:09:55.167" v="67"/>
        <pc:sldMkLst>
          <pc:docMk/>
          <pc:sldMk cId="2705554520" sldId="2474"/>
        </pc:sldMkLst>
        <pc:spChg chg="del">
          <ac:chgData name="Ana Isabel Silla Cortes" userId="S::asillaco@emeal.nttdata.com::b546b5c1-2aeb-468b-a361-4830835db4b0" providerId="AD" clId="Web-{4E1C78AF-8430-408A-8BF7-ABA1557DA64F}" dt="2022-05-03T08:09:34.540" v="61"/>
          <ac:spMkLst>
            <pc:docMk/>
            <pc:sldMk cId="2705554520" sldId="2474"/>
            <ac:spMk id="3" creationId="{EF972DA6-9C59-575F-4E6E-5134DA6F5C37}"/>
          </ac:spMkLst>
        </pc:spChg>
        <pc:picChg chg="add mod ord">
          <ac:chgData name="Ana Isabel Silla Cortes" userId="S::asillaco@emeal.nttdata.com::b546b5c1-2aeb-468b-a361-4830835db4b0" providerId="AD" clId="Web-{4E1C78AF-8430-408A-8BF7-ABA1557DA64F}" dt="2022-05-03T08:09:34.540" v="61"/>
          <ac:picMkLst>
            <pc:docMk/>
            <pc:sldMk cId="2705554520" sldId="2474"/>
            <ac:picMk id="5" creationId="{EF3B7E2A-3905-448B-CA2A-B12D154C1F79}"/>
          </ac:picMkLst>
        </pc:picChg>
      </pc:sldChg>
      <pc:sldChg chg="addSp delSp modSp new del">
        <pc:chgData name="Ana Isabel Silla Cortes" userId="S::asillaco@emeal.nttdata.com::b546b5c1-2aeb-468b-a361-4830835db4b0" providerId="AD" clId="Web-{4E1C78AF-8430-408A-8BF7-ABA1557DA64F}" dt="2022-05-03T08:26:27.760" v="252"/>
        <pc:sldMkLst>
          <pc:docMk/>
          <pc:sldMk cId="583785952" sldId="2475"/>
        </pc:sldMkLst>
        <pc:spChg chg="del">
          <ac:chgData name="Ana Isabel Silla Cortes" userId="S::asillaco@emeal.nttdata.com::b546b5c1-2aeb-468b-a361-4830835db4b0" providerId="AD" clId="Web-{4E1C78AF-8430-408A-8BF7-ABA1557DA64F}" dt="2022-05-03T08:24:33.565" v="212"/>
          <ac:spMkLst>
            <pc:docMk/>
            <pc:sldMk cId="583785952" sldId="2475"/>
            <ac:spMk id="3" creationId="{9F7C6B6D-C0DD-BECB-82E8-A5B60AB054A6}"/>
          </ac:spMkLst>
        </pc:spChg>
        <pc:picChg chg="add mod ord">
          <ac:chgData name="Ana Isabel Silla Cortes" userId="S::asillaco@emeal.nttdata.com::b546b5c1-2aeb-468b-a361-4830835db4b0" providerId="AD" clId="Web-{4E1C78AF-8430-408A-8BF7-ABA1557DA64F}" dt="2022-05-03T08:24:33.565" v="212"/>
          <ac:picMkLst>
            <pc:docMk/>
            <pc:sldMk cId="583785952" sldId="2475"/>
            <ac:picMk id="5" creationId="{6B0D99C9-41CE-18F8-97F4-3E3D967DB66D}"/>
          </ac:picMkLst>
        </pc:picChg>
      </pc:sldChg>
    </pc:docChg>
  </pc:docChgLst>
  <pc:docChgLst>
    <pc:chgData name="Ana Isabel Silla Cortes" userId="S::asillaco@emeal.nttdata.com::b546b5c1-2aeb-468b-a361-4830835db4b0" providerId="AD" clId="Web-{F974C026-EA1C-486D-B9F0-73A1C1BEF863}"/>
    <pc:docChg chg="modSld">
      <pc:chgData name="Ana Isabel Silla Cortes" userId="S::asillaco@emeal.nttdata.com::b546b5c1-2aeb-468b-a361-4830835db4b0" providerId="AD" clId="Web-{F974C026-EA1C-486D-B9F0-73A1C1BEF863}" dt="2022-05-04T15:16:14.940" v="4" actId="20577"/>
      <pc:docMkLst>
        <pc:docMk/>
      </pc:docMkLst>
      <pc:sldChg chg="modSp">
        <pc:chgData name="Ana Isabel Silla Cortes" userId="S::asillaco@emeal.nttdata.com::b546b5c1-2aeb-468b-a361-4830835db4b0" providerId="AD" clId="Web-{F974C026-EA1C-486D-B9F0-73A1C1BEF863}" dt="2022-05-04T15:16:14.940" v="4" actId="20577"/>
        <pc:sldMkLst>
          <pc:docMk/>
          <pc:sldMk cId="2002864901" sldId="2429"/>
        </pc:sldMkLst>
        <pc:spChg chg="mod">
          <ac:chgData name="Ana Isabel Silla Cortes" userId="S::asillaco@emeal.nttdata.com::b546b5c1-2aeb-468b-a361-4830835db4b0" providerId="AD" clId="Web-{F974C026-EA1C-486D-B9F0-73A1C1BEF863}" dt="2022-05-04T15:16:14.940" v="4" actId="20577"/>
          <ac:spMkLst>
            <pc:docMk/>
            <pc:sldMk cId="2002864901" sldId="2429"/>
            <ac:spMk id="9" creationId="{B7389055-ED77-4CBB-25AC-763AF829A1DC}"/>
          </ac:spMkLst>
        </pc:spChg>
      </pc:sldChg>
    </pc:docChg>
  </pc:docChgLst>
  <pc:docChgLst>
    <pc:chgData name="Miguel Baranda Robles" userId="S::mbaranda@emeal.nttdata.com::60c90789-d763-4e90-8083-146dd5f8a060" providerId="AD" clId="Web-{640E4CEB-E4F5-49E4-8E5B-44F3753AAE81}"/>
    <pc:docChg chg="modSld">
      <pc:chgData name="Miguel Baranda Robles" userId="S::mbaranda@emeal.nttdata.com::60c90789-d763-4e90-8083-146dd5f8a060" providerId="AD" clId="Web-{640E4CEB-E4F5-49E4-8E5B-44F3753AAE81}" dt="2022-01-27T18:14:53.046" v="6"/>
      <pc:docMkLst>
        <pc:docMk/>
      </pc:docMkLst>
      <pc:sldChg chg="modSp">
        <pc:chgData name="Miguel Baranda Robles" userId="S::mbaranda@emeal.nttdata.com::60c90789-d763-4e90-8083-146dd5f8a060" providerId="AD" clId="Web-{640E4CEB-E4F5-49E4-8E5B-44F3753AAE81}" dt="2022-01-27T18:14:53.046" v="6"/>
        <pc:sldMkLst>
          <pc:docMk/>
          <pc:sldMk cId="2033842533" sldId="2261"/>
        </pc:sldMkLst>
        <pc:spChg chg="mod">
          <ac:chgData name="Miguel Baranda Robles" userId="S::mbaranda@emeal.nttdata.com::60c90789-d763-4e90-8083-146dd5f8a060" providerId="AD" clId="Web-{640E4CEB-E4F5-49E4-8E5B-44F3753AAE81}" dt="2022-01-27T18:14:53.046" v="6"/>
          <ac:spMkLst>
            <pc:docMk/>
            <pc:sldMk cId="2033842533" sldId="2261"/>
            <ac:spMk id="37" creationId="{9E1538F6-D9DF-4591-BEF9-261CF3134DC6}"/>
          </ac:spMkLst>
        </pc:spChg>
      </pc:sldChg>
      <pc:sldChg chg="addSp delSp modSp">
        <pc:chgData name="Miguel Baranda Robles" userId="S::mbaranda@emeal.nttdata.com::60c90789-d763-4e90-8083-146dd5f8a060" providerId="AD" clId="Web-{640E4CEB-E4F5-49E4-8E5B-44F3753AAE81}" dt="2022-01-27T18:14:15.186" v="2" actId="1076"/>
        <pc:sldMkLst>
          <pc:docMk/>
          <pc:sldMk cId="1021200000" sldId="2377"/>
        </pc:sldMkLst>
        <pc:spChg chg="add mod">
          <ac:chgData name="Miguel Baranda Robles" userId="S::mbaranda@emeal.nttdata.com::60c90789-d763-4e90-8083-146dd5f8a060" providerId="AD" clId="Web-{640E4CEB-E4F5-49E4-8E5B-44F3753AAE81}" dt="2022-01-27T18:14:15.186" v="2" actId="1076"/>
          <ac:spMkLst>
            <pc:docMk/>
            <pc:sldMk cId="1021200000" sldId="2377"/>
            <ac:spMk id="101" creationId="{D6532C16-2CE4-4529-9E12-0764E117E783}"/>
          </ac:spMkLst>
        </pc:spChg>
        <pc:spChg chg="del">
          <ac:chgData name="Miguel Baranda Robles" userId="S::mbaranda@emeal.nttdata.com::60c90789-d763-4e90-8083-146dd5f8a060" providerId="AD" clId="Web-{640E4CEB-E4F5-49E4-8E5B-44F3753AAE81}" dt="2022-01-27T18:05:23.114" v="0"/>
          <ac:spMkLst>
            <pc:docMk/>
            <pc:sldMk cId="1021200000" sldId="2377"/>
            <ac:spMk id="199" creationId="{EA11D1EC-91F5-4764-8AC9-D98A76D9CD7E}"/>
          </ac:spMkLst>
        </pc:spChg>
      </pc:sldChg>
    </pc:docChg>
  </pc:docChgLst>
  <pc:docChgLst>
    <pc:chgData name="Alvaro Mier Fernandez" userId="S::amierfer@emeal.nttdata.com::c642f8e6-b31e-4af5-bb23-25d9263e6664" providerId="AD" clId="Web-{FEA0FB10-09FE-1B2D-6F27-CFE0529B683F}"/>
    <pc:docChg chg="addSld delSld modSld modSection">
      <pc:chgData name="Alvaro Mier Fernandez" userId="S::amierfer@emeal.nttdata.com::c642f8e6-b31e-4af5-bb23-25d9263e6664" providerId="AD" clId="Web-{FEA0FB10-09FE-1B2D-6F27-CFE0529B683F}" dt="2022-05-02T12:50:49.443" v="441"/>
      <pc:docMkLst>
        <pc:docMk/>
      </pc:docMkLst>
      <pc:sldChg chg="modSp">
        <pc:chgData name="Alvaro Mier Fernandez" userId="S::amierfer@emeal.nttdata.com::c642f8e6-b31e-4af5-bb23-25d9263e6664" providerId="AD" clId="Web-{FEA0FB10-09FE-1B2D-6F27-CFE0529B683F}" dt="2022-05-02T12:00:27.815" v="307" actId="20577"/>
        <pc:sldMkLst>
          <pc:docMk/>
          <pc:sldMk cId="2392750449" sldId="2335"/>
        </pc:sldMkLst>
        <pc:spChg chg="mod">
          <ac:chgData name="Alvaro Mier Fernandez" userId="S::amierfer@emeal.nttdata.com::c642f8e6-b31e-4af5-bb23-25d9263e6664" providerId="AD" clId="Web-{FEA0FB10-09FE-1B2D-6F27-CFE0529B683F}" dt="2022-05-02T12:00:27.815" v="307" actId="20577"/>
          <ac:spMkLst>
            <pc:docMk/>
            <pc:sldMk cId="2392750449" sldId="2335"/>
            <ac:spMk id="20" creationId="{EE2EB87E-F264-4765-9C66-FE84E21A3B66}"/>
          </ac:spMkLst>
        </pc:spChg>
      </pc:sldChg>
      <pc:sldChg chg="modSp">
        <pc:chgData name="Alvaro Mier Fernandez" userId="S::amierfer@emeal.nttdata.com::c642f8e6-b31e-4af5-bb23-25d9263e6664" providerId="AD" clId="Web-{FEA0FB10-09FE-1B2D-6F27-CFE0529B683F}" dt="2022-05-02T12:00:34.628" v="310" actId="20577"/>
        <pc:sldMkLst>
          <pc:docMk/>
          <pc:sldMk cId="1737487934" sldId="2431"/>
        </pc:sldMkLst>
        <pc:spChg chg="mod">
          <ac:chgData name="Alvaro Mier Fernandez" userId="S::amierfer@emeal.nttdata.com::c642f8e6-b31e-4af5-bb23-25d9263e6664" providerId="AD" clId="Web-{FEA0FB10-09FE-1B2D-6F27-CFE0529B683F}" dt="2022-05-02T12:00:34.628" v="310" actId="20577"/>
          <ac:spMkLst>
            <pc:docMk/>
            <pc:sldMk cId="1737487934" sldId="2431"/>
            <ac:spMk id="20" creationId="{EE2EB87E-F264-4765-9C66-FE84E21A3B66}"/>
          </ac:spMkLst>
        </pc:spChg>
      </pc:sldChg>
      <pc:sldChg chg="modSp">
        <pc:chgData name="Alvaro Mier Fernandez" userId="S::amierfer@emeal.nttdata.com::c642f8e6-b31e-4af5-bb23-25d9263e6664" providerId="AD" clId="Web-{FEA0FB10-09FE-1B2D-6F27-CFE0529B683F}" dt="2022-05-02T12:00:32.893" v="309" actId="20577"/>
        <pc:sldMkLst>
          <pc:docMk/>
          <pc:sldMk cId="768627014" sldId="2432"/>
        </pc:sldMkLst>
        <pc:spChg chg="mod">
          <ac:chgData name="Alvaro Mier Fernandez" userId="S::amierfer@emeal.nttdata.com::c642f8e6-b31e-4af5-bb23-25d9263e6664" providerId="AD" clId="Web-{FEA0FB10-09FE-1B2D-6F27-CFE0529B683F}" dt="2022-05-02T12:00:32.893" v="309" actId="20577"/>
          <ac:spMkLst>
            <pc:docMk/>
            <pc:sldMk cId="768627014" sldId="2432"/>
            <ac:spMk id="20" creationId="{EE2EB87E-F264-4765-9C66-FE84E21A3B66}"/>
          </ac:spMkLst>
        </pc:spChg>
      </pc:sldChg>
      <pc:sldChg chg="modSp">
        <pc:chgData name="Alvaro Mier Fernandez" userId="S::amierfer@emeal.nttdata.com::c642f8e6-b31e-4af5-bb23-25d9263e6664" providerId="AD" clId="Web-{FEA0FB10-09FE-1B2D-6F27-CFE0529B683F}" dt="2022-05-02T12:00:37.206" v="311" actId="20577"/>
        <pc:sldMkLst>
          <pc:docMk/>
          <pc:sldMk cId="2958677732" sldId="2433"/>
        </pc:sldMkLst>
        <pc:spChg chg="mod">
          <ac:chgData name="Alvaro Mier Fernandez" userId="S::amierfer@emeal.nttdata.com::c642f8e6-b31e-4af5-bb23-25d9263e6664" providerId="AD" clId="Web-{FEA0FB10-09FE-1B2D-6F27-CFE0529B683F}" dt="2022-05-02T12:00:37.206" v="311" actId="20577"/>
          <ac:spMkLst>
            <pc:docMk/>
            <pc:sldMk cId="2958677732" sldId="2433"/>
            <ac:spMk id="20" creationId="{EE2EB87E-F264-4765-9C66-FE84E21A3B66}"/>
          </ac:spMkLst>
        </pc:spChg>
      </pc:sldChg>
      <pc:sldChg chg="modSp">
        <pc:chgData name="Alvaro Mier Fernandez" userId="S::amierfer@emeal.nttdata.com::c642f8e6-b31e-4af5-bb23-25d9263e6664" providerId="AD" clId="Web-{FEA0FB10-09FE-1B2D-6F27-CFE0529B683F}" dt="2022-05-02T12:00:39.925" v="312" actId="20577"/>
        <pc:sldMkLst>
          <pc:docMk/>
          <pc:sldMk cId="3347855164" sldId="2434"/>
        </pc:sldMkLst>
        <pc:spChg chg="mod">
          <ac:chgData name="Alvaro Mier Fernandez" userId="S::amierfer@emeal.nttdata.com::c642f8e6-b31e-4af5-bb23-25d9263e6664" providerId="AD" clId="Web-{FEA0FB10-09FE-1B2D-6F27-CFE0529B683F}" dt="2022-05-02T12:00:39.925" v="312" actId="20577"/>
          <ac:spMkLst>
            <pc:docMk/>
            <pc:sldMk cId="3347855164" sldId="2434"/>
            <ac:spMk id="20" creationId="{EE2EB87E-F264-4765-9C66-FE84E21A3B66}"/>
          </ac:spMkLst>
        </pc:spChg>
      </pc:sldChg>
      <pc:sldChg chg="modSp">
        <pc:chgData name="Alvaro Mier Fernandez" userId="S::amierfer@emeal.nttdata.com::c642f8e6-b31e-4af5-bb23-25d9263e6664" providerId="AD" clId="Web-{FEA0FB10-09FE-1B2D-6F27-CFE0529B683F}" dt="2022-05-02T12:00:45.050" v="314" actId="20577"/>
        <pc:sldMkLst>
          <pc:docMk/>
          <pc:sldMk cId="1632767328" sldId="2435"/>
        </pc:sldMkLst>
        <pc:spChg chg="mod">
          <ac:chgData name="Alvaro Mier Fernandez" userId="S::amierfer@emeal.nttdata.com::c642f8e6-b31e-4af5-bb23-25d9263e6664" providerId="AD" clId="Web-{FEA0FB10-09FE-1B2D-6F27-CFE0529B683F}" dt="2022-05-02T12:00:45.050" v="314" actId="20577"/>
          <ac:spMkLst>
            <pc:docMk/>
            <pc:sldMk cId="1632767328" sldId="2435"/>
            <ac:spMk id="20" creationId="{EE2EB87E-F264-4765-9C66-FE84E21A3B66}"/>
          </ac:spMkLst>
        </pc:spChg>
      </pc:sldChg>
      <pc:sldChg chg="modSp">
        <pc:chgData name="Alvaro Mier Fernandez" userId="S::amierfer@emeal.nttdata.com::c642f8e6-b31e-4af5-bb23-25d9263e6664" providerId="AD" clId="Web-{FEA0FB10-09FE-1B2D-6F27-CFE0529B683F}" dt="2022-05-02T12:00:24.534" v="305" actId="20577"/>
        <pc:sldMkLst>
          <pc:docMk/>
          <pc:sldMk cId="3330879086" sldId="2452"/>
        </pc:sldMkLst>
        <pc:spChg chg="mod">
          <ac:chgData name="Alvaro Mier Fernandez" userId="S::amierfer@emeal.nttdata.com::c642f8e6-b31e-4af5-bb23-25d9263e6664" providerId="AD" clId="Web-{FEA0FB10-09FE-1B2D-6F27-CFE0529B683F}" dt="2022-05-02T12:00:24.534" v="305" actId="20577"/>
          <ac:spMkLst>
            <pc:docMk/>
            <pc:sldMk cId="3330879086" sldId="2452"/>
            <ac:spMk id="20" creationId="{EE2EB87E-F264-4765-9C66-FE84E21A3B66}"/>
          </ac:spMkLst>
        </pc:spChg>
      </pc:sldChg>
      <pc:sldChg chg="modSp">
        <pc:chgData name="Alvaro Mier Fernandez" userId="S::amierfer@emeal.nttdata.com::c642f8e6-b31e-4af5-bb23-25d9263e6664" providerId="AD" clId="Web-{FEA0FB10-09FE-1B2D-6F27-CFE0529B683F}" dt="2022-05-02T12:00:45.581" v="316" actId="20577"/>
        <pc:sldMkLst>
          <pc:docMk/>
          <pc:sldMk cId="163228844" sldId="2453"/>
        </pc:sldMkLst>
        <pc:spChg chg="mod">
          <ac:chgData name="Alvaro Mier Fernandez" userId="S::amierfer@emeal.nttdata.com::c642f8e6-b31e-4af5-bb23-25d9263e6664" providerId="AD" clId="Web-{FEA0FB10-09FE-1B2D-6F27-CFE0529B683F}" dt="2022-05-02T12:00:45.581" v="316" actId="20577"/>
          <ac:spMkLst>
            <pc:docMk/>
            <pc:sldMk cId="163228844" sldId="2453"/>
            <ac:spMk id="20" creationId="{EE2EB87E-F264-4765-9C66-FE84E21A3B66}"/>
          </ac:spMkLst>
        </pc:spChg>
      </pc:sldChg>
      <pc:sldChg chg="addSp delSp modSp">
        <pc:chgData name="Alvaro Mier Fernandez" userId="S::amierfer@emeal.nttdata.com::c642f8e6-b31e-4af5-bb23-25d9263e6664" providerId="AD" clId="Web-{FEA0FB10-09FE-1B2D-6F27-CFE0529B683F}" dt="2022-05-02T08:19:36.510" v="35"/>
        <pc:sldMkLst>
          <pc:docMk/>
          <pc:sldMk cId="1509237927" sldId="2454"/>
        </pc:sldMkLst>
        <pc:picChg chg="add del mod">
          <ac:chgData name="Alvaro Mier Fernandez" userId="S::amierfer@emeal.nttdata.com::c642f8e6-b31e-4af5-bb23-25d9263e6664" providerId="AD" clId="Web-{FEA0FB10-09FE-1B2D-6F27-CFE0529B683F}" dt="2022-05-02T08:19:36.510" v="35"/>
          <ac:picMkLst>
            <pc:docMk/>
            <pc:sldMk cId="1509237927" sldId="2454"/>
            <ac:picMk id="4" creationId="{A7F8FBE3-E0BE-B216-1847-1CF72D966C9D}"/>
          </ac:picMkLst>
        </pc:picChg>
      </pc:sldChg>
      <pc:sldChg chg="add del replId">
        <pc:chgData name="Alvaro Mier Fernandez" userId="S::amierfer@emeal.nttdata.com::c642f8e6-b31e-4af5-bb23-25d9263e6664" providerId="AD" clId="Web-{FEA0FB10-09FE-1B2D-6F27-CFE0529B683F}" dt="2022-05-02T08:07:41.077" v="1"/>
        <pc:sldMkLst>
          <pc:docMk/>
          <pc:sldMk cId="1629833988" sldId="2457"/>
        </pc:sldMkLst>
      </pc:sldChg>
      <pc:sldChg chg="addSp delSp modSp add replId">
        <pc:chgData name="Alvaro Mier Fernandez" userId="S::amierfer@emeal.nttdata.com::c642f8e6-b31e-4af5-bb23-25d9263e6664" providerId="AD" clId="Web-{FEA0FB10-09FE-1B2D-6F27-CFE0529B683F}" dt="2022-05-02T12:00:48.097" v="317" actId="20577"/>
        <pc:sldMkLst>
          <pc:docMk/>
          <pc:sldMk cId="1751334457" sldId="2457"/>
        </pc:sldMkLst>
        <pc:spChg chg="mod">
          <ac:chgData name="Alvaro Mier Fernandez" userId="S::amierfer@emeal.nttdata.com::c642f8e6-b31e-4af5-bb23-25d9263e6664" providerId="AD" clId="Web-{FEA0FB10-09FE-1B2D-6F27-CFE0529B683F}" dt="2022-05-02T12:00:48.097" v="317" actId="20577"/>
          <ac:spMkLst>
            <pc:docMk/>
            <pc:sldMk cId="1751334457" sldId="2457"/>
            <ac:spMk id="20" creationId="{EE2EB87E-F264-4765-9C66-FE84E21A3B66}"/>
          </ac:spMkLst>
        </pc:spChg>
        <pc:picChg chg="add del mod">
          <ac:chgData name="Alvaro Mier Fernandez" userId="S::amierfer@emeal.nttdata.com::c642f8e6-b31e-4af5-bb23-25d9263e6664" providerId="AD" clId="Web-{FEA0FB10-09FE-1B2D-6F27-CFE0529B683F}" dt="2022-05-02T08:19:29.415" v="33"/>
          <ac:picMkLst>
            <pc:docMk/>
            <pc:sldMk cId="1751334457" sldId="2457"/>
            <ac:picMk id="2" creationId="{4D7B3F93-C238-6718-101D-0A878C84E836}"/>
          </ac:picMkLst>
        </pc:picChg>
      </pc:sldChg>
      <pc:sldChg chg="addSp delSp modSp add replId">
        <pc:chgData name="Alvaro Mier Fernandez" userId="S::amierfer@emeal.nttdata.com::c642f8e6-b31e-4af5-bb23-25d9263e6664" providerId="AD" clId="Web-{FEA0FB10-09FE-1B2D-6F27-CFE0529B683F}" dt="2022-05-02T08:38:42.576" v="50" actId="14100"/>
        <pc:sldMkLst>
          <pc:docMk/>
          <pc:sldMk cId="3660261702" sldId="2458"/>
        </pc:sldMkLst>
        <pc:spChg chg="del">
          <ac:chgData name="Alvaro Mier Fernandez" userId="S::amierfer@emeal.nttdata.com::c642f8e6-b31e-4af5-bb23-25d9263e6664" providerId="AD" clId="Web-{FEA0FB10-09FE-1B2D-6F27-CFE0529B683F}" dt="2022-05-02T08:08:57.379" v="15"/>
          <ac:spMkLst>
            <pc:docMk/>
            <pc:sldMk cId="3660261702" sldId="2458"/>
            <ac:spMk id="12" creationId="{D9E25197-1741-DF0C-D5F5-C81EE0C7CBE8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08:08:35.409" v="7" actId="20577"/>
          <ac:spMkLst>
            <pc:docMk/>
            <pc:sldMk cId="3660261702" sldId="2458"/>
            <ac:spMk id="22" creationId="{6EA10ED2-50E3-40EA-8CC2-55F5E96A71E8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08:08:52.004" v="13" actId="20577"/>
          <ac:spMkLst>
            <pc:docMk/>
            <pc:sldMk cId="3660261702" sldId="2458"/>
            <ac:spMk id="28" creationId="{DD453CE2-6FED-4720-8043-DBD1D2185AE1}"/>
          </ac:spMkLst>
        </pc:spChg>
        <pc:picChg chg="del">
          <ac:chgData name="Alvaro Mier Fernandez" userId="S::amierfer@emeal.nttdata.com::c642f8e6-b31e-4af5-bb23-25d9263e6664" providerId="AD" clId="Web-{FEA0FB10-09FE-1B2D-6F27-CFE0529B683F}" dt="2022-05-02T08:08:53.925" v="14"/>
          <ac:picMkLst>
            <pc:docMk/>
            <pc:sldMk cId="3660261702" sldId="2458"/>
            <ac:picMk id="2" creationId="{94BB4E41-8C94-68E1-F104-7FF5D4889736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17:57.863" v="21"/>
          <ac:picMkLst>
            <pc:docMk/>
            <pc:sldMk cId="3660261702" sldId="2458"/>
            <ac:picMk id="4" creationId="{ED16C4F7-11FC-670E-EE2C-2175652C058E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18:00.895" v="23"/>
          <ac:picMkLst>
            <pc:docMk/>
            <pc:sldMk cId="3660261702" sldId="2458"/>
            <ac:picMk id="6" creationId="{41079199-278B-11A6-3C2E-BC2605EBF798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18:45.100" v="25"/>
          <ac:picMkLst>
            <pc:docMk/>
            <pc:sldMk cId="3660261702" sldId="2458"/>
            <ac:picMk id="7" creationId="{68167709-7A12-34DA-4048-57FBD8DD3F75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37:15.712" v="36"/>
          <ac:picMkLst>
            <pc:docMk/>
            <pc:sldMk cId="3660261702" sldId="2458"/>
            <ac:picMk id="9" creationId="{58380BA4-C69A-722A-8736-58297428B50F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19:25.212" v="31"/>
          <ac:picMkLst>
            <pc:docMk/>
            <pc:sldMk cId="3660261702" sldId="2458"/>
            <ac:picMk id="10" creationId="{70C50FDA-54F2-F5B5-164D-1E68A37657A1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37:42.932" v="38"/>
          <ac:picMkLst>
            <pc:docMk/>
            <pc:sldMk cId="3660261702" sldId="2458"/>
            <ac:picMk id="11" creationId="{741B5048-8013-83E4-AB8C-74C2F53A4131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37:49.979" v="40"/>
          <ac:picMkLst>
            <pc:docMk/>
            <pc:sldMk cId="3660261702" sldId="2458"/>
            <ac:picMk id="13" creationId="{9FE35486-26F9-C535-2F93-03F760065327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38:04.574" v="42"/>
          <ac:picMkLst>
            <pc:docMk/>
            <pc:sldMk cId="3660261702" sldId="2458"/>
            <ac:picMk id="14" creationId="{2AE49AAB-E59E-740F-EB21-AEE2115311CB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8:38:22.434" v="47"/>
          <ac:picMkLst>
            <pc:docMk/>
            <pc:sldMk cId="3660261702" sldId="2458"/>
            <ac:picMk id="15" creationId="{D8BB019B-699F-1AE7-4EA0-275BFBA1BD30}"/>
          </ac:picMkLst>
        </pc:picChg>
        <pc:picChg chg="add mod">
          <ac:chgData name="Alvaro Mier Fernandez" userId="S::amierfer@emeal.nttdata.com::c642f8e6-b31e-4af5-bb23-25d9263e6664" providerId="AD" clId="Web-{FEA0FB10-09FE-1B2D-6F27-CFE0529B683F}" dt="2022-05-02T08:38:42.576" v="50" actId="14100"/>
          <ac:picMkLst>
            <pc:docMk/>
            <pc:sldMk cId="3660261702" sldId="2458"/>
            <ac:picMk id="16" creationId="{30D63A10-EA97-E137-29C6-2D4F5EE418B8}"/>
          </ac:picMkLst>
        </pc:picChg>
      </pc:sldChg>
      <pc:sldChg chg="modSp add replId">
        <pc:chgData name="Alvaro Mier Fernandez" userId="S::amierfer@emeal.nttdata.com::c642f8e6-b31e-4af5-bb23-25d9263e6664" providerId="AD" clId="Web-{FEA0FB10-09FE-1B2D-6F27-CFE0529B683F}" dt="2022-05-02T09:33:48.913" v="301" actId="20577"/>
        <pc:sldMkLst>
          <pc:docMk/>
          <pc:sldMk cId="65301296" sldId="2459"/>
        </pc:sldMkLst>
        <pc:spChg chg="mod">
          <ac:chgData name="Alvaro Mier Fernandez" userId="S::amierfer@emeal.nttdata.com::c642f8e6-b31e-4af5-bb23-25d9263e6664" providerId="AD" clId="Web-{FEA0FB10-09FE-1B2D-6F27-CFE0529B683F}" dt="2022-05-02T09:33:48.913" v="301" actId="20577"/>
          <ac:spMkLst>
            <pc:docMk/>
            <pc:sldMk cId="65301296" sldId="2459"/>
            <ac:spMk id="2" creationId="{6F845D07-8496-66AF-C9F7-3EBA8F74B913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08:39:26.579" v="53" actId="20577"/>
          <ac:spMkLst>
            <pc:docMk/>
            <pc:sldMk cId="65301296" sldId="2459"/>
            <ac:spMk id="22" creationId="{6EA10ED2-50E3-40EA-8CC2-55F5E96A71E8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09:18:45.339" v="244" actId="20577"/>
          <ac:spMkLst>
            <pc:docMk/>
            <pc:sldMk cId="65301296" sldId="2459"/>
            <ac:spMk id="28" creationId="{DD453CE2-6FED-4720-8043-DBD1D2185AE1}"/>
          </ac:spMkLst>
        </pc:spChg>
      </pc:sldChg>
      <pc:sldChg chg="modSp add replId">
        <pc:chgData name="Alvaro Mier Fernandez" userId="S::amierfer@emeal.nttdata.com::c642f8e6-b31e-4af5-bb23-25d9263e6664" providerId="AD" clId="Web-{FEA0FB10-09FE-1B2D-6F27-CFE0529B683F}" dt="2022-05-02T12:00:12.236" v="303" actId="20577"/>
        <pc:sldMkLst>
          <pc:docMk/>
          <pc:sldMk cId="560978902" sldId="2460"/>
        </pc:sldMkLst>
        <pc:spChg chg="mod">
          <ac:chgData name="Alvaro Mier Fernandez" userId="S::amierfer@emeal.nttdata.com::c642f8e6-b31e-4af5-bb23-25d9263e6664" providerId="AD" clId="Web-{FEA0FB10-09FE-1B2D-6F27-CFE0529B683F}" dt="2022-05-02T12:00:12.236" v="303" actId="20577"/>
          <ac:spMkLst>
            <pc:docMk/>
            <pc:sldMk cId="560978902" sldId="2460"/>
            <ac:spMk id="20" creationId="{EE2EB87E-F264-4765-9C66-FE84E21A3B66}"/>
          </ac:spMkLst>
        </pc:spChg>
      </pc:sldChg>
      <pc:sldChg chg="addSp delSp modSp add replId">
        <pc:chgData name="Alvaro Mier Fernandez" userId="S::amierfer@emeal.nttdata.com::c642f8e6-b31e-4af5-bb23-25d9263e6664" providerId="AD" clId="Web-{FEA0FB10-09FE-1B2D-6F27-CFE0529B683F}" dt="2022-05-02T09:12:26.172" v="150" actId="20577"/>
        <pc:sldMkLst>
          <pc:docMk/>
          <pc:sldMk cId="21262278" sldId="2461"/>
        </pc:sldMkLst>
        <pc:spChg chg="mod">
          <ac:chgData name="Alvaro Mier Fernandez" userId="S::amierfer@emeal.nttdata.com::c642f8e6-b31e-4af5-bb23-25d9263e6664" providerId="AD" clId="Web-{FEA0FB10-09FE-1B2D-6F27-CFE0529B683F}" dt="2022-05-02T08:51:59.778" v="126" actId="20577"/>
          <ac:spMkLst>
            <pc:docMk/>
            <pc:sldMk cId="21262278" sldId="2461"/>
            <ac:spMk id="22" creationId="{6EA10ED2-50E3-40EA-8CC2-55F5E96A71E8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09:12:26.172" v="150" actId="20577"/>
          <ac:spMkLst>
            <pc:docMk/>
            <pc:sldMk cId="21262278" sldId="2461"/>
            <ac:spMk id="28" creationId="{DD453CE2-6FED-4720-8043-DBD1D2185AE1}"/>
          </ac:spMkLst>
        </pc:spChg>
        <pc:picChg chg="add mod">
          <ac:chgData name="Alvaro Mier Fernandez" userId="S::amierfer@emeal.nttdata.com::c642f8e6-b31e-4af5-bb23-25d9263e6664" providerId="AD" clId="Web-{FEA0FB10-09FE-1B2D-6F27-CFE0529B683F}" dt="2022-05-02T09:11:37.998" v="137" actId="1076"/>
          <ac:picMkLst>
            <pc:docMk/>
            <pc:sldMk cId="21262278" sldId="2461"/>
            <ac:picMk id="2" creationId="{8B92D739-FE64-B2BA-347D-84171CDB16E6}"/>
          </ac:picMkLst>
        </pc:picChg>
        <pc:picChg chg="del">
          <ac:chgData name="Alvaro Mier Fernandez" userId="S::amierfer@emeal.nttdata.com::c642f8e6-b31e-4af5-bb23-25d9263e6664" providerId="AD" clId="Web-{FEA0FB10-09FE-1B2D-6F27-CFE0529B683F}" dt="2022-05-02T08:51:50.028" v="124"/>
          <ac:picMkLst>
            <pc:docMk/>
            <pc:sldMk cId="21262278" sldId="2461"/>
            <ac:picMk id="16" creationId="{30D63A10-EA97-E137-29C6-2D4F5EE418B8}"/>
          </ac:picMkLst>
        </pc:picChg>
      </pc:sldChg>
      <pc:sldChg chg="modSp add replId">
        <pc:chgData name="Alvaro Mier Fernandez" userId="S::amierfer@emeal.nttdata.com::c642f8e6-b31e-4af5-bb23-25d9263e6664" providerId="AD" clId="Web-{FEA0FB10-09FE-1B2D-6F27-CFE0529B683F}" dt="2022-05-02T09:14:51.863" v="240" actId="20577"/>
        <pc:sldMkLst>
          <pc:docMk/>
          <pc:sldMk cId="3106822527" sldId="2462"/>
        </pc:sldMkLst>
        <pc:spChg chg="mod">
          <ac:chgData name="Alvaro Mier Fernandez" userId="S::amierfer@emeal.nttdata.com::c642f8e6-b31e-4af5-bb23-25d9263e6664" providerId="AD" clId="Web-{FEA0FB10-09FE-1B2D-6F27-CFE0529B683F}" dt="2022-05-02T09:14:51.863" v="240" actId="20577"/>
          <ac:spMkLst>
            <pc:docMk/>
            <pc:sldMk cId="3106822527" sldId="2462"/>
            <ac:spMk id="2" creationId="{6F845D07-8496-66AF-C9F7-3EBA8F74B913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09:13:45.471" v="155" actId="20577"/>
          <ac:spMkLst>
            <pc:docMk/>
            <pc:sldMk cId="3106822527" sldId="2462"/>
            <ac:spMk id="22" creationId="{6EA10ED2-50E3-40EA-8CC2-55F5E96A71E8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09:14:03.190" v="158" actId="20577"/>
          <ac:spMkLst>
            <pc:docMk/>
            <pc:sldMk cId="3106822527" sldId="2462"/>
            <ac:spMk id="28" creationId="{DD453CE2-6FED-4720-8043-DBD1D2185AE1}"/>
          </ac:spMkLst>
        </pc:spChg>
      </pc:sldChg>
      <pc:sldChg chg="addSp delSp modSp add replId">
        <pc:chgData name="Alvaro Mier Fernandez" userId="S::amierfer@emeal.nttdata.com::c642f8e6-b31e-4af5-bb23-25d9263e6664" providerId="AD" clId="Web-{FEA0FB10-09FE-1B2D-6F27-CFE0529B683F}" dt="2022-05-02T09:33:03.818" v="268" actId="14100"/>
        <pc:sldMkLst>
          <pc:docMk/>
          <pc:sldMk cId="4150022715" sldId="2463"/>
        </pc:sldMkLst>
        <pc:spChg chg="mod">
          <ac:chgData name="Alvaro Mier Fernandez" userId="S::amierfer@emeal.nttdata.com::c642f8e6-b31e-4af5-bb23-25d9263e6664" providerId="AD" clId="Web-{FEA0FB10-09FE-1B2D-6F27-CFE0529B683F}" dt="2022-05-02T09:18:41.589" v="242" actId="20577"/>
          <ac:spMkLst>
            <pc:docMk/>
            <pc:sldMk cId="4150022715" sldId="2463"/>
            <ac:spMk id="28" creationId="{DD453CE2-6FED-4720-8043-DBD1D2185AE1}"/>
          </ac:spMkLst>
        </pc:spChg>
        <pc:picChg chg="add del mod">
          <ac:chgData name="Alvaro Mier Fernandez" userId="S::amierfer@emeal.nttdata.com::c642f8e6-b31e-4af5-bb23-25d9263e6664" providerId="AD" clId="Web-{FEA0FB10-09FE-1B2D-6F27-CFE0529B683F}" dt="2022-05-02T09:19:39.794" v="251"/>
          <ac:picMkLst>
            <pc:docMk/>
            <pc:sldMk cId="4150022715" sldId="2463"/>
            <ac:picMk id="2" creationId="{2BF0C659-E43D-C898-F4A4-9E212B26057E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9:20:57.375" v="254"/>
          <ac:picMkLst>
            <pc:docMk/>
            <pc:sldMk cId="4150022715" sldId="2463"/>
            <ac:picMk id="4" creationId="{5BC156F1-56A1-C6F1-3575-01ADE3731F9B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9:27:06.682" v="257"/>
          <ac:picMkLst>
            <pc:docMk/>
            <pc:sldMk cId="4150022715" sldId="2463"/>
            <ac:picMk id="6" creationId="{9EE4BEE5-9A5E-E9B2-BAE8-4C9BF26ED034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09:28:43.342" v="263"/>
          <ac:picMkLst>
            <pc:docMk/>
            <pc:sldMk cId="4150022715" sldId="2463"/>
            <ac:picMk id="7" creationId="{A7BA26B3-2E77-BD04-02A8-21F9EAEF1D93}"/>
          </ac:picMkLst>
        </pc:picChg>
        <pc:picChg chg="add mod">
          <ac:chgData name="Alvaro Mier Fernandez" userId="S::amierfer@emeal.nttdata.com::c642f8e6-b31e-4af5-bb23-25d9263e6664" providerId="AD" clId="Web-{FEA0FB10-09FE-1B2D-6F27-CFE0529B683F}" dt="2022-05-02T09:33:03.818" v="268" actId="14100"/>
          <ac:picMkLst>
            <pc:docMk/>
            <pc:sldMk cId="4150022715" sldId="2463"/>
            <ac:picMk id="9" creationId="{5A3DFB78-691C-2EEC-BCFD-10D9BA3E9DD2}"/>
          </ac:picMkLst>
        </pc:picChg>
        <pc:picChg chg="del">
          <ac:chgData name="Alvaro Mier Fernandez" userId="S::amierfer@emeal.nttdata.com::c642f8e6-b31e-4af5-bb23-25d9263e6664" providerId="AD" clId="Web-{FEA0FB10-09FE-1B2D-6F27-CFE0529B683F}" dt="2022-05-02T09:18:47.699" v="245"/>
          <ac:picMkLst>
            <pc:docMk/>
            <pc:sldMk cId="4150022715" sldId="2463"/>
            <ac:picMk id="16" creationId="{30D63A10-EA97-E137-29C6-2D4F5EE418B8}"/>
          </ac:picMkLst>
        </pc:picChg>
      </pc:sldChg>
      <pc:sldChg chg="modSp add replId">
        <pc:chgData name="Alvaro Mier Fernandez" userId="S::amierfer@emeal.nttdata.com::c642f8e6-b31e-4af5-bb23-25d9263e6664" providerId="AD" clId="Web-{FEA0FB10-09FE-1B2D-6F27-CFE0529B683F}" dt="2022-05-02T12:01:20.895" v="320" actId="20577"/>
        <pc:sldMkLst>
          <pc:docMk/>
          <pc:sldMk cId="1279992823" sldId="2464"/>
        </pc:sldMkLst>
        <pc:spChg chg="mod">
          <ac:chgData name="Alvaro Mier Fernandez" userId="S::amierfer@emeal.nttdata.com::c642f8e6-b31e-4af5-bb23-25d9263e6664" providerId="AD" clId="Web-{FEA0FB10-09FE-1B2D-6F27-CFE0529B683F}" dt="2022-05-02T12:01:20.895" v="320" actId="20577"/>
          <ac:spMkLst>
            <pc:docMk/>
            <pc:sldMk cId="1279992823" sldId="2464"/>
            <ac:spMk id="20" creationId="{EE2EB87E-F264-4765-9C66-FE84E21A3B66}"/>
          </ac:spMkLst>
        </pc:spChg>
      </pc:sldChg>
      <pc:sldChg chg="addSp delSp modSp add replId">
        <pc:chgData name="Alvaro Mier Fernandez" userId="S::amierfer@emeal.nttdata.com::c642f8e6-b31e-4af5-bb23-25d9263e6664" providerId="AD" clId="Web-{FEA0FB10-09FE-1B2D-6F27-CFE0529B683F}" dt="2022-05-02T12:08:32.829" v="371" actId="1076"/>
        <pc:sldMkLst>
          <pc:docMk/>
          <pc:sldMk cId="3857956232" sldId="2465"/>
        </pc:sldMkLst>
        <pc:spChg chg="mod">
          <ac:chgData name="Alvaro Mier Fernandez" userId="S::amierfer@emeal.nttdata.com::c642f8e6-b31e-4af5-bb23-25d9263e6664" providerId="AD" clId="Web-{FEA0FB10-09FE-1B2D-6F27-CFE0529B683F}" dt="2022-05-02T12:02:34.819" v="323" actId="20577"/>
          <ac:spMkLst>
            <pc:docMk/>
            <pc:sldMk cId="3857956232" sldId="2465"/>
            <ac:spMk id="22" creationId="{6EA10ED2-50E3-40EA-8CC2-55F5E96A71E8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12:07:23.546" v="363" actId="20577"/>
          <ac:spMkLst>
            <pc:docMk/>
            <pc:sldMk cId="3857956232" sldId="2465"/>
            <ac:spMk id="28" creationId="{DD453CE2-6FED-4720-8043-DBD1D2185AE1}"/>
          </ac:spMkLst>
        </pc:spChg>
        <pc:picChg chg="add del mod">
          <ac:chgData name="Alvaro Mier Fernandez" userId="S::amierfer@emeal.nttdata.com::c642f8e6-b31e-4af5-bb23-25d9263e6664" providerId="AD" clId="Web-{FEA0FB10-09FE-1B2D-6F27-CFE0529B683F}" dt="2022-05-02T12:04:33.916" v="337"/>
          <ac:picMkLst>
            <pc:docMk/>
            <pc:sldMk cId="3857956232" sldId="2465"/>
            <ac:picMk id="2" creationId="{1CEA9A2F-FC08-2C07-0BBD-6F09BE3580E0}"/>
          </ac:picMkLst>
        </pc:picChg>
        <pc:picChg chg="add del mod">
          <ac:chgData name="Alvaro Mier Fernandez" userId="S::amierfer@emeal.nttdata.com::c642f8e6-b31e-4af5-bb23-25d9263e6664" providerId="AD" clId="Web-{FEA0FB10-09FE-1B2D-6F27-CFE0529B683F}" dt="2022-05-02T12:07:24.374" v="364"/>
          <ac:picMkLst>
            <pc:docMk/>
            <pc:sldMk cId="3857956232" sldId="2465"/>
            <ac:picMk id="4" creationId="{1B7BE52B-878D-EF0B-89BB-0EF7B27D3E54}"/>
          </ac:picMkLst>
        </pc:picChg>
        <pc:picChg chg="add mod">
          <ac:chgData name="Alvaro Mier Fernandez" userId="S::amierfer@emeal.nttdata.com::c642f8e6-b31e-4af5-bb23-25d9263e6664" providerId="AD" clId="Web-{FEA0FB10-09FE-1B2D-6F27-CFE0529B683F}" dt="2022-05-02T12:08:32.829" v="371" actId="1076"/>
          <ac:picMkLst>
            <pc:docMk/>
            <pc:sldMk cId="3857956232" sldId="2465"/>
            <ac:picMk id="6" creationId="{E3318144-F896-DCA2-D00A-73D689B0D1DB}"/>
          </ac:picMkLst>
        </pc:picChg>
        <pc:picChg chg="del">
          <ac:chgData name="Alvaro Mier Fernandez" userId="S::amierfer@emeal.nttdata.com::c642f8e6-b31e-4af5-bb23-25d9263e6664" providerId="AD" clId="Web-{FEA0FB10-09FE-1B2D-6F27-CFE0529B683F}" dt="2022-05-02T12:02:44.991" v="328"/>
          <ac:picMkLst>
            <pc:docMk/>
            <pc:sldMk cId="3857956232" sldId="2465"/>
            <ac:picMk id="16" creationId="{30D63A10-EA97-E137-29C6-2D4F5EE418B8}"/>
          </ac:picMkLst>
        </pc:picChg>
      </pc:sldChg>
      <pc:sldChg chg="modSp add replId">
        <pc:chgData name="Alvaro Mier Fernandez" userId="S::amierfer@emeal.nttdata.com::c642f8e6-b31e-4af5-bb23-25d9263e6664" providerId="AD" clId="Web-{FEA0FB10-09FE-1B2D-6F27-CFE0529B683F}" dt="2022-05-02T12:09:06.814" v="380" actId="20577"/>
        <pc:sldMkLst>
          <pc:docMk/>
          <pc:sldMk cId="4294139447" sldId="2466"/>
        </pc:sldMkLst>
        <pc:spChg chg="mod">
          <ac:chgData name="Alvaro Mier Fernandez" userId="S::amierfer@emeal.nttdata.com::c642f8e6-b31e-4af5-bb23-25d9263e6664" providerId="AD" clId="Web-{FEA0FB10-09FE-1B2D-6F27-CFE0529B683F}" dt="2022-05-02T12:09:06.814" v="380" actId="20577"/>
          <ac:spMkLst>
            <pc:docMk/>
            <pc:sldMk cId="4294139447" sldId="2466"/>
            <ac:spMk id="28" creationId="{DD453CE2-6FED-4720-8043-DBD1D2185AE1}"/>
          </ac:spMkLst>
        </pc:spChg>
      </pc:sldChg>
      <pc:sldChg chg="addSp delSp modSp add replId">
        <pc:chgData name="Alvaro Mier Fernandez" userId="S::amierfer@emeal.nttdata.com::c642f8e6-b31e-4af5-bb23-25d9263e6664" providerId="AD" clId="Web-{FEA0FB10-09FE-1B2D-6F27-CFE0529B683F}" dt="2022-05-02T12:09:45.425" v="390" actId="14100"/>
        <pc:sldMkLst>
          <pc:docMk/>
          <pc:sldMk cId="690253003" sldId="2467"/>
        </pc:sldMkLst>
        <pc:spChg chg="mod">
          <ac:chgData name="Alvaro Mier Fernandez" userId="S::amierfer@emeal.nttdata.com::c642f8e6-b31e-4af5-bb23-25d9263e6664" providerId="AD" clId="Web-{FEA0FB10-09FE-1B2D-6F27-CFE0529B683F}" dt="2022-05-02T12:09:15.346" v="382" actId="20577"/>
          <ac:spMkLst>
            <pc:docMk/>
            <pc:sldMk cId="690253003" sldId="2467"/>
            <ac:spMk id="28" creationId="{DD453CE2-6FED-4720-8043-DBD1D2185AE1}"/>
          </ac:spMkLst>
        </pc:spChg>
        <pc:picChg chg="add mod">
          <ac:chgData name="Alvaro Mier Fernandez" userId="S::amierfer@emeal.nttdata.com::c642f8e6-b31e-4af5-bb23-25d9263e6664" providerId="AD" clId="Web-{FEA0FB10-09FE-1B2D-6F27-CFE0529B683F}" dt="2022-05-02T12:09:45.425" v="390" actId="14100"/>
          <ac:picMkLst>
            <pc:docMk/>
            <pc:sldMk cId="690253003" sldId="2467"/>
            <ac:picMk id="2" creationId="{27411868-EA3D-A26E-D3B6-6199396643A2}"/>
          </ac:picMkLst>
        </pc:picChg>
        <pc:picChg chg="del">
          <ac:chgData name="Alvaro Mier Fernandez" userId="S::amierfer@emeal.nttdata.com::c642f8e6-b31e-4af5-bb23-25d9263e6664" providerId="AD" clId="Web-{FEA0FB10-09FE-1B2D-6F27-CFE0529B683F}" dt="2022-05-02T12:09:17.221" v="383"/>
          <ac:picMkLst>
            <pc:docMk/>
            <pc:sldMk cId="690253003" sldId="2467"/>
            <ac:picMk id="4" creationId="{1B7BE52B-878D-EF0B-89BB-0EF7B27D3E54}"/>
          </ac:picMkLst>
        </pc:picChg>
      </pc:sldChg>
      <pc:sldChg chg="addSp delSp modSp add replId">
        <pc:chgData name="Alvaro Mier Fernandez" userId="S::amierfer@emeal.nttdata.com::c642f8e6-b31e-4af5-bb23-25d9263e6664" providerId="AD" clId="Web-{FEA0FB10-09FE-1B2D-6F27-CFE0529B683F}" dt="2022-05-02T12:50:49.443" v="441"/>
        <pc:sldMkLst>
          <pc:docMk/>
          <pc:sldMk cId="345306303" sldId="2468"/>
        </pc:sldMkLst>
        <pc:spChg chg="add del">
          <ac:chgData name="Alvaro Mier Fernandez" userId="S::amierfer@emeal.nttdata.com::c642f8e6-b31e-4af5-bb23-25d9263e6664" providerId="AD" clId="Web-{FEA0FB10-09FE-1B2D-6F27-CFE0529B683F}" dt="2022-05-02T12:50:35.302" v="439"/>
          <ac:spMkLst>
            <pc:docMk/>
            <pc:sldMk cId="345306303" sldId="2468"/>
            <ac:spMk id="2" creationId="{98C8038C-BEB8-A1DF-ECF7-3C8A18400D67}"/>
          </ac:spMkLst>
        </pc:spChg>
        <pc:spChg chg="add del">
          <ac:chgData name="Alvaro Mier Fernandez" userId="S::amierfer@emeal.nttdata.com::c642f8e6-b31e-4af5-bb23-25d9263e6664" providerId="AD" clId="Web-{FEA0FB10-09FE-1B2D-6F27-CFE0529B683F}" dt="2022-05-02T12:50:49.443" v="441"/>
          <ac:spMkLst>
            <pc:docMk/>
            <pc:sldMk cId="345306303" sldId="2468"/>
            <ac:spMk id="6" creationId="{2E3150A9-D797-B4FD-D743-BDBEE49EB236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12:10:56.802" v="399" actId="20577"/>
          <ac:spMkLst>
            <pc:docMk/>
            <pc:sldMk cId="345306303" sldId="2468"/>
            <ac:spMk id="28" creationId="{DD453CE2-6FED-4720-8043-DBD1D2185AE1}"/>
          </ac:spMkLst>
        </pc:spChg>
        <pc:picChg chg="del">
          <ac:chgData name="Alvaro Mier Fernandez" userId="S::amierfer@emeal.nttdata.com::c642f8e6-b31e-4af5-bb23-25d9263e6664" providerId="AD" clId="Web-{FEA0FB10-09FE-1B2D-6F27-CFE0529B683F}" dt="2022-05-02T12:10:37.723" v="392"/>
          <ac:picMkLst>
            <pc:docMk/>
            <pc:sldMk cId="345306303" sldId="2468"/>
            <ac:picMk id="2" creationId="{27411868-EA3D-A26E-D3B6-6199396643A2}"/>
          </ac:picMkLst>
        </pc:picChg>
        <pc:picChg chg="add mod">
          <ac:chgData name="Alvaro Mier Fernandez" userId="S::amierfer@emeal.nttdata.com::c642f8e6-b31e-4af5-bb23-25d9263e6664" providerId="AD" clId="Web-{FEA0FB10-09FE-1B2D-6F27-CFE0529B683F}" dt="2022-05-02T12:10:58.646" v="400" actId="1076"/>
          <ac:picMkLst>
            <pc:docMk/>
            <pc:sldMk cId="345306303" sldId="2468"/>
            <ac:picMk id="4" creationId="{DB8A4107-8E85-F686-0400-AF7DE70744CD}"/>
          </ac:picMkLst>
        </pc:picChg>
      </pc:sldChg>
      <pc:sldChg chg="addSp delSp modSp add replId">
        <pc:chgData name="Alvaro Mier Fernandez" userId="S::amierfer@emeal.nttdata.com::c642f8e6-b31e-4af5-bb23-25d9263e6664" providerId="AD" clId="Web-{FEA0FB10-09FE-1B2D-6F27-CFE0529B683F}" dt="2022-05-02T12:17:04.922" v="437" actId="20577"/>
        <pc:sldMkLst>
          <pc:docMk/>
          <pc:sldMk cId="4060694875" sldId="2469"/>
        </pc:sldMkLst>
        <pc:spChg chg="add mod">
          <ac:chgData name="Alvaro Mier Fernandez" userId="S::amierfer@emeal.nttdata.com::c642f8e6-b31e-4af5-bb23-25d9263e6664" providerId="AD" clId="Web-{FEA0FB10-09FE-1B2D-6F27-CFE0529B683F}" dt="2022-05-02T12:17:04.922" v="437" actId="20577"/>
          <ac:spMkLst>
            <pc:docMk/>
            <pc:sldMk cId="4060694875" sldId="2469"/>
            <ac:spMk id="2" creationId="{4BBBE611-8AAB-382C-0782-56AB5D6BBDFA}"/>
          </ac:spMkLst>
        </pc:spChg>
        <pc:spChg chg="mod">
          <ac:chgData name="Alvaro Mier Fernandez" userId="S::amierfer@emeal.nttdata.com::c642f8e6-b31e-4af5-bb23-25d9263e6664" providerId="AD" clId="Web-{FEA0FB10-09FE-1B2D-6F27-CFE0529B683F}" dt="2022-05-02T12:16:19.405" v="404" actId="20577"/>
          <ac:spMkLst>
            <pc:docMk/>
            <pc:sldMk cId="4060694875" sldId="2469"/>
            <ac:spMk id="28" creationId="{DD453CE2-6FED-4720-8043-DBD1D2185AE1}"/>
          </ac:spMkLst>
        </pc:spChg>
        <pc:picChg chg="del">
          <ac:chgData name="Alvaro Mier Fernandez" userId="S::amierfer@emeal.nttdata.com::c642f8e6-b31e-4af5-bb23-25d9263e6664" providerId="AD" clId="Web-{FEA0FB10-09FE-1B2D-6F27-CFE0529B683F}" dt="2022-05-02T12:16:21.140" v="405"/>
          <ac:picMkLst>
            <pc:docMk/>
            <pc:sldMk cId="4060694875" sldId="2469"/>
            <ac:picMk id="4" creationId="{DB8A4107-8E85-F686-0400-AF7DE70744CD}"/>
          </ac:picMkLst>
        </pc:picChg>
      </pc:sldChg>
    </pc:docChg>
  </pc:docChgLst>
  <pc:docChgLst>
    <pc:chgData name="Alvaro Mier Fernandez" userId="S::amierfer@emeal.nttdata.com::c642f8e6-b31e-4af5-bb23-25d9263e6664" providerId="AD" clId="Web-{E8937A20-977F-7461-7FD5-00841056FE90}"/>
    <pc:docChg chg="delSld modSld modSection">
      <pc:chgData name="Alvaro Mier Fernandez" userId="S::amierfer@emeal.nttdata.com::c642f8e6-b31e-4af5-bb23-25d9263e6664" providerId="AD" clId="Web-{E8937A20-977F-7461-7FD5-00841056FE90}" dt="2022-04-29T12:13:13.294" v="35" actId="1076"/>
      <pc:docMkLst>
        <pc:docMk/>
      </pc:docMkLst>
      <pc:sldChg chg="del">
        <pc:chgData name="Alvaro Mier Fernandez" userId="S::amierfer@emeal.nttdata.com::c642f8e6-b31e-4af5-bb23-25d9263e6664" providerId="AD" clId="Web-{E8937A20-977F-7461-7FD5-00841056FE90}" dt="2022-04-29T11:47:13.268" v="0"/>
        <pc:sldMkLst>
          <pc:docMk/>
          <pc:sldMk cId="2749353794" sldId="2441"/>
        </pc:sldMkLst>
      </pc:sldChg>
      <pc:sldChg chg="del">
        <pc:chgData name="Alvaro Mier Fernandez" userId="S::amierfer@emeal.nttdata.com::c642f8e6-b31e-4af5-bb23-25d9263e6664" providerId="AD" clId="Web-{E8937A20-977F-7461-7FD5-00841056FE90}" dt="2022-04-29T11:47:15.502" v="1"/>
        <pc:sldMkLst>
          <pc:docMk/>
          <pc:sldMk cId="1191737738" sldId="2446"/>
        </pc:sldMkLst>
      </pc:sldChg>
      <pc:sldChg chg="modSp">
        <pc:chgData name="Alvaro Mier Fernandez" userId="S::amierfer@emeal.nttdata.com::c642f8e6-b31e-4af5-bb23-25d9263e6664" providerId="AD" clId="Web-{E8937A20-977F-7461-7FD5-00841056FE90}" dt="2022-04-29T12:13:13.294" v="35" actId="1076"/>
        <pc:sldMkLst>
          <pc:docMk/>
          <pc:sldMk cId="1680424220" sldId="2450"/>
        </pc:sldMkLst>
        <pc:picChg chg="mod">
          <ac:chgData name="Alvaro Mier Fernandez" userId="S::amierfer@emeal.nttdata.com::c642f8e6-b31e-4af5-bb23-25d9263e6664" providerId="AD" clId="Web-{E8937A20-977F-7461-7FD5-00841056FE90}" dt="2022-04-29T12:13:13.294" v="35" actId="1076"/>
          <ac:picMkLst>
            <pc:docMk/>
            <pc:sldMk cId="1680424220" sldId="2450"/>
            <ac:picMk id="4" creationId="{00000000-0000-0000-0000-000000000000}"/>
          </ac:picMkLst>
        </pc:picChg>
      </pc:sldChg>
      <pc:sldChg chg="modSp">
        <pc:chgData name="Alvaro Mier Fernandez" userId="S::amierfer@emeal.nttdata.com::c642f8e6-b31e-4af5-bb23-25d9263e6664" providerId="AD" clId="Web-{E8937A20-977F-7461-7FD5-00841056FE90}" dt="2022-04-29T11:59:45.147" v="34" actId="20577"/>
        <pc:sldMkLst>
          <pc:docMk/>
          <pc:sldMk cId="3678979713" sldId="2451"/>
        </pc:sldMkLst>
        <pc:spChg chg="mod">
          <ac:chgData name="Alvaro Mier Fernandez" userId="S::amierfer@emeal.nttdata.com::c642f8e6-b31e-4af5-bb23-25d9263e6664" providerId="AD" clId="Web-{E8937A20-977F-7461-7FD5-00841056FE90}" dt="2022-04-29T11:59:45.147" v="34" actId="20577"/>
          <ac:spMkLst>
            <pc:docMk/>
            <pc:sldMk cId="3678979713" sldId="2451"/>
            <ac:spMk id="9" creationId="{540377F8-1E00-40B6-6D85-A772711F372A}"/>
          </ac:spMkLst>
        </pc:spChg>
        <pc:spChg chg="mod">
          <ac:chgData name="Alvaro Mier Fernandez" userId="S::amierfer@emeal.nttdata.com::c642f8e6-b31e-4af5-bb23-25d9263e6664" providerId="AD" clId="Web-{E8937A20-977F-7461-7FD5-00841056FE90}" dt="2022-04-29T11:58:38.270" v="12" actId="20577"/>
          <ac:spMkLst>
            <pc:docMk/>
            <pc:sldMk cId="3678979713" sldId="2451"/>
            <ac:spMk id="28" creationId="{DD453CE2-6FED-4720-8043-DBD1D2185AE1}"/>
          </ac:spMkLst>
        </pc:spChg>
      </pc:sldChg>
      <pc:sldChg chg="modSp">
        <pc:chgData name="Alvaro Mier Fernandez" userId="S::amierfer@emeal.nttdata.com::c642f8e6-b31e-4af5-bb23-25d9263e6664" providerId="AD" clId="Web-{E8937A20-977F-7461-7FD5-00841056FE90}" dt="2022-04-29T11:47:35.909" v="11" actId="20577"/>
        <pc:sldMkLst>
          <pc:docMk/>
          <pc:sldMk cId="3330879086" sldId="2452"/>
        </pc:sldMkLst>
        <pc:spChg chg="mod">
          <ac:chgData name="Alvaro Mier Fernandez" userId="S::amierfer@emeal.nttdata.com::c642f8e6-b31e-4af5-bb23-25d9263e6664" providerId="AD" clId="Web-{E8937A20-977F-7461-7FD5-00841056FE90}" dt="2022-04-29T11:47:35.909" v="11" actId="20577"/>
          <ac:spMkLst>
            <pc:docMk/>
            <pc:sldMk cId="3330879086" sldId="2452"/>
            <ac:spMk id="20" creationId="{EE2EB87E-F264-4765-9C66-FE84E21A3B66}"/>
          </ac:spMkLst>
        </pc:spChg>
      </pc:sldChg>
    </pc:docChg>
  </pc:docChgLst>
  <pc:docChgLst>
    <pc:chgData name="Javier Vivas Carlos" userId="S::jvivasca@emeal.nttdata.com::b7e8403b-d7e5-4f09-8c6d-23e90274941f" providerId="AD" clId="Web-{FE1B9FDA-B7EA-1AE3-B20C-A411DA6C44DC}"/>
    <pc:docChg chg="modSld">
      <pc:chgData name="Javier Vivas Carlos" userId="S::jvivasca@emeal.nttdata.com::b7e8403b-d7e5-4f09-8c6d-23e90274941f" providerId="AD" clId="Web-{FE1B9FDA-B7EA-1AE3-B20C-A411DA6C44DC}" dt="2022-01-24T18:28:44.968" v="83"/>
      <pc:docMkLst>
        <pc:docMk/>
      </pc:docMkLst>
      <pc:sldChg chg="modSp">
        <pc:chgData name="Javier Vivas Carlos" userId="S::jvivasca@emeal.nttdata.com::b7e8403b-d7e5-4f09-8c6d-23e90274941f" providerId="AD" clId="Web-{FE1B9FDA-B7EA-1AE3-B20C-A411DA6C44DC}" dt="2022-01-24T18:28:44.968" v="83"/>
        <pc:sldMkLst>
          <pc:docMk/>
          <pc:sldMk cId="396485121" sldId="2373"/>
        </pc:sldMkLst>
        <pc:graphicFrameChg chg="mod modGraphic">
          <ac:chgData name="Javier Vivas Carlos" userId="S::jvivasca@emeal.nttdata.com::b7e8403b-d7e5-4f09-8c6d-23e90274941f" providerId="AD" clId="Web-{FE1B9FDA-B7EA-1AE3-B20C-A411DA6C44DC}" dt="2022-01-24T18:28:44.968" v="83"/>
          <ac:graphicFrameMkLst>
            <pc:docMk/>
            <pc:sldMk cId="396485121" sldId="2373"/>
            <ac:graphicFrameMk id="73" creationId="{EC078648-D5FD-4F43-9B62-0087E78752A5}"/>
          </ac:graphicFrameMkLst>
        </pc:graphicFrameChg>
      </pc:sldChg>
    </pc:docChg>
  </pc:docChgLst>
  <pc:docChgLst>
    <pc:chgData name="Ana Isabel Silla Cortes" userId="S::asillaco@emeal.nttdata.com::b546b5c1-2aeb-468b-a361-4830835db4b0" providerId="AD" clId="Web-{3407E698-A0D5-4DAB-9EF9-9E277DE9AC97}"/>
    <pc:docChg chg="modSld">
      <pc:chgData name="Ana Isabel Silla Cortes" userId="S::asillaco@emeal.nttdata.com::b546b5c1-2aeb-468b-a361-4830835db4b0" providerId="AD" clId="Web-{3407E698-A0D5-4DAB-9EF9-9E277DE9AC97}" dt="2022-04-29T12:32:18.692" v="191" actId="20577"/>
      <pc:docMkLst>
        <pc:docMk/>
      </pc:docMkLst>
      <pc:sldChg chg="modSp">
        <pc:chgData name="Ana Isabel Silla Cortes" userId="S::asillaco@emeal.nttdata.com::b546b5c1-2aeb-468b-a361-4830835db4b0" providerId="AD" clId="Web-{3407E698-A0D5-4DAB-9EF9-9E277DE9AC97}" dt="2022-04-29T12:20:32.012" v="80" actId="20577"/>
        <pc:sldMkLst>
          <pc:docMk/>
          <pc:sldMk cId="981156525" sldId="2418"/>
        </pc:sldMkLst>
        <pc:spChg chg="mod">
          <ac:chgData name="Ana Isabel Silla Cortes" userId="S::asillaco@emeal.nttdata.com::b546b5c1-2aeb-468b-a361-4830835db4b0" providerId="AD" clId="Web-{3407E698-A0D5-4DAB-9EF9-9E277DE9AC97}" dt="2022-04-29T12:20:32.012" v="80" actId="20577"/>
          <ac:spMkLst>
            <pc:docMk/>
            <pc:sldMk cId="981156525" sldId="2418"/>
            <ac:spMk id="2" creationId="{830EE9A9-04A7-6669-A951-D6117184AC85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21:32.046" v="91" actId="20577"/>
        <pc:sldMkLst>
          <pc:docMk/>
          <pc:sldMk cId="2412637373" sldId="2419"/>
        </pc:sldMkLst>
        <pc:spChg chg="mod">
          <ac:chgData name="Ana Isabel Silla Cortes" userId="S::asillaco@emeal.nttdata.com::b546b5c1-2aeb-468b-a361-4830835db4b0" providerId="AD" clId="Web-{3407E698-A0D5-4DAB-9EF9-9E277DE9AC97}" dt="2022-04-29T12:21:32.046" v="91" actId="20577"/>
          <ac:spMkLst>
            <pc:docMk/>
            <pc:sldMk cId="2412637373" sldId="2419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22:02.829" v="96" actId="20577"/>
        <pc:sldMkLst>
          <pc:docMk/>
          <pc:sldMk cId="2601384674" sldId="2420"/>
        </pc:sldMkLst>
        <pc:spChg chg="mod">
          <ac:chgData name="Ana Isabel Silla Cortes" userId="S::asillaco@emeal.nttdata.com::b546b5c1-2aeb-468b-a361-4830835db4b0" providerId="AD" clId="Web-{3407E698-A0D5-4DAB-9EF9-9E277DE9AC97}" dt="2022-04-29T12:22:02.829" v="96" actId="20577"/>
          <ac:spMkLst>
            <pc:docMk/>
            <pc:sldMk cId="2601384674" sldId="2420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26:10.015" v="132" actId="20577"/>
        <pc:sldMkLst>
          <pc:docMk/>
          <pc:sldMk cId="1977536290" sldId="2423"/>
        </pc:sldMkLst>
        <pc:spChg chg="mod">
          <ac:chgData name="Ana Isabel Silla Cortes" userId="S::asillaco@emeal.nttdata.com::b546b5c1-2aeb-468b-a361-4830835db4b0" providerId="AD" clId="Web-{3407E698-A0D5-4DAB-9EF9-9E277DE9AC97}" dt="2022-04-29T12:26:10.015" v="132" actId="20577"/>
          <ac:spMkLst>
            <pc:docMk/>
            <pc:sldMk cId="1977536290" sldId="2423"/>
            <ac:spMk id="2" creationId="{540377F8-1E00-40B6-6D85-A772711F372A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21:41.531" v="94" actId="20577"/>
        <pc:sldMkLst>
          <pc:docMk/>
          <pc:sldMk cId="812854890" sldId="2424"/>
        </pc:sldMkLst>
        <pc:spChg chg="mod">
          <ac:chgData name="Ana Isabel Silla Cortes" userId="S::asillaco@emeal.nttdata.com::b546b5c1-2aeb-468b-a361-4830835db4b0" providerId="AD" clId="Web-{3407E698-A0D5-4DAB-9EF9-9E277DE9AC97}" dt="2022-04-29T12:21:17.280" v="88" actId="20577"/>
          <ac:spMkLst>
            <pc:docMk/>
            <pc:sldMk cId="812854890" sldId="2424"/>
            <ac:spMk id="4" creationId="{00000000-0000-0000-0000-000000000000}"/>
          </ac:spMkLst>
        </pc:spChg>
        <pc:spChg chg="mod">
          <ac:chgData name="Ana Isabel Silla Cortes" userId="S::asillaco@emeal.nttdata.com::b546b5c1-2aeb-468b-a361-4830835db4b0" providerId="AD" clId="Web-{3407E698-A0D5-4DAB-9EF9-9E277DE9AC97}" dt="2022-04-29T12:21:41.531" v="94" actId="20577"/>
          <ac:spMkLst>
            <pc:docMk/>
            <pc:sldMk cId="812854890" sldId="2424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22:15.408" v="99"/>
        <pc:sldMkLst>
          <pc:docMk/>
          <pc:sldMk cId="3290642412" sldId="2425"/>
        </pc:sldMkLst>
        <pc:spChg chg="mod">
          <ac:chgData name="Ana Isabel Silla Cortes" userId="S::asillaco@emeal.nttdata.com::b546b5c1-2aeb-468b-a361-4830835db4b0" providerId="AD" clId="Web-{3407E698-A0D5-4DAB-9EF9-9E277DE9AC97}" dt="2022-04-29T12:22:15.408" v="99"/>
          <ac:spMkLst>
            <pc:docMk/>
            <pc:sldMk cId="3290642412" sldId="2425"/>
            <ac:spMk id="14" creationId="{71B165B6-8798-541D-AA53-9B065ED23A0B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17:22.689" v="2"/>
        <pc:sldMkLst>
          <pc:docMk/>
          <pc:sldMk cId="1038101899" sldId="2428"/>
        </pc:sldMkLst>
        <pc:spChg chg="mod">
          <ac:chgData name="Ana Isabel Silla Cortes" userId="S::asillaco@emeal.nttdata.com::b546b5c1-2aeb-468b-a361-4830835db4b0" providerId="AD" clId="Web-{3407E698-A0D5-4DAB-9EF9-9E277DE9AC97}" dt="2022-04-29T12:17:22.689" v="2"/>
          <ac:spMkLst>
            <pc:docMk/>
            <pc:sldMk cId="1038101899" sldId="2428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31:56.066" v="190" actId="1076"/>
        <pc:sldMkLst>
          <pc:docMk/>
          <pc:sldMk cId="1680424220" sldId="2450"/>
        </pc:sldMkLst>
        <pc:picChg chg="mod">
          <ac:chgData name="Ana Isabel Silla Cortes" userId="S::asillaco@emeal.nttdata.com::b546b5c1-2aeb-468b-a361-4830835db4b0" providerId="AD" clId="Web-{3407E698-A0D5-4DAB-9EF9-9E277DE9AC97}" dt="2022-04-29T12:31:56.066" v="190" actId="1076"/>
          <ac:picMkLst>
            <pc:docMk/>
            <pc:sldMk cId="1680424220" sldId="2450"/>
            <ac:picMk id="4" creationId="{00000000-0000-0000-0000-000000000000}"/>
          </ac:picMkLst>
        </pc:picChg>
      </pc:sldChg>
      <pc:sldChg chg="modSp">
        <pc:chgData name="Ana Isabel Silla Cortes" userId="S::asillaco@emeal.nttdata.com::b546b5c1-2aeb-468b-a361-4830835db4b0" providerId="AD" clId="Web-{3407E698-A0D5-4DAB-9EF9-9E277DE9AC97}" dt="2022-04-29T12:32:18.692" v="191" actId="20577"/>
        <pc:sldMkLst>
          <pc:docMk/>
          <pc:sldMk cId="3678979713" sldId="2451"/>
        </pc:sldMkLst>
        <pc:spChg chg="mod">
          <ac:chgData name="Ana Isabel Silla Cortes" userId="S::asillaco@emeal.nttdata.com::b546b5c1-2aeb-468b-a361-4830835db4b0" providerId="AD" clId="Web-{3407E698-A0D5-4DAB-9EF9-9E277DE9AC97}" dt="2022-04-29T12:32:18.692" v="191" actId="20577"/>
          <ac:spMkLst>
            <pc:docMk/>
            <pc:sldMk cId="3678979713" sldId="2451"/>
            <ac:spMk id="9" creationId="{540377F8-1E00-40B6-6D85-A772711F372A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31:39.940" v="189" actId="20577"/>
        <pc:sldMkLst>
          <pc:docMk/>
          <pc:sldMk cId="163228844" sldId="2453"/>
        </pc:sldMkLst>
        <pc:spChg chg="mod">
          <ac:chgData name="Ana Isabel Silla Cortes" userId="S::asillaco@emeal.nttdata.com::b546b5c1-2aeb-468b-a361-4830835db4b0" providerId="AD" clId="Web-{3407E698-A0D5-4DAB-9EF9-9E277DE9AC97}" dt="2022-04-29T12:31:39.940" v="189" actId="20577"/>
          <ac:spMkLst>
            <pc:docMk/>
            <pc:sldMk cId="163228844" sldId="2453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3407E698-A0D5-4DAB-9EF9-9E277DE9AC97}" dt="2022-04-29T12:30:45.656" v="178" actId="20577"/>
        <pc:sldMkLst>
          <pc:docMk/>
          <pc:sldMk cId="1509237927" sldId="2454"/>
        </pc:sldMkLst>
        <pc:spChg chg="mod">
          <ac:chgData name="Ana Isabel Silla Cortes" userId="S::asillaco@emeal.nttdata.com::b546b5c1-2aeb-468b-a361-4830835db4b0" providerId="AD" clId="Web-{3407E698-A0D5-4DAB-9EF9-9E277DE9AC97}" dt="2022-04-29T12:30:45.656" v="178" actId="20577"/>
          <ac:spMkLst>
            <pc:docMk/>
            <pc:sldMk cId="1509237927" sldId="2454"/>
            <ac:spMk id="2" creationId="{6F845D07-8496-66AF-C9F7-3EBA8F74B913}"/>
          </ac:spMkLst>
        </pc:spChg>
      </pc:sldChg>
    </pc:docChg>
  </pc:docChgLst>
  <pc:docChgLst>
    <pc:chgData name="Ciro Ignacio Atorrasagasti" userId="7cd334dc-3e87-4a2c-a876-1e7636282ec9" providerId="ADAL" clId="{2C600B91-A08B-4037-951E-633E44AFB517}"/>
    <pc:docChg chg="undo custSel delSld modSld modSection">
      <pc:chgData name="Ciro Ignacio Atorrasagasti" userId="7cd334dc-3e87-4a2c-a876-1e7636282ec9" providerId="ADAL" clId="{2C600B91-A08B-4037-951E-633E44AFB517}" dt="2022-01-24T14:13:10.714" v="1717" actId="1035"/>
      <pc:docMkLst>
        <pc:docMk/>
      </pc:docMkLst>
      <pc:sldChg chg="delSp modSp mod">
        <pc:chgData name="Ciro Ignacio Atorrasagasti" userId="7cd334dc-3e87-4a2c-a876-1e7636282ec9" providerId="ADAL" clId="{2C600B91-A08B-4037-951E-633E44AFB517}" dt="2022-01-20T19:57:01.283" v="1586" actId="20577"/>
        <pc:sldMkLst>
          <pc:docMk/>
          <pc:sldMk cId="2130383488" sldId="2229"/>
        </pc:sldMkLst>
        <pc:spChg chg="mod">
          <ac:chgData name="Ciro Ignacio Atorrasagasti" userId="7cd334dc-3e87-4a2c-a876-1e7636282ec9" providerId="ADAL" clId="{2C600B91-A08B-4037-951E-633E44AFB517}" dt="2022-01-20T19:00:59.667" v="269" actId="20577"/>
          <ac:spMkLst>
            <pc:docMk/>
            <pc:sldMk cId="2130383488" sldId="2229"/>
            <ac:spMk id="30" creationId="{5A5A0842-0D06-4109-A7A5-FD7202E2DE43}"/>
          </ac:spMkLst>
        </pc:spChg>
        <pc:spChg chg="mod">
          <ac:chgData name="Ciro Ignacio Atorrasagasti" userId="7cd334dc-3e87-4a2c-a876-1e7636282ec9" providerId="ADAL" clId="{2C600B91-A08B-4037-951E-633E44AFB517}" dt="2022-01-20T19:57:01.283" v="1586" actId="20577"/>
          <ac:spMkLst>
            <pc:docMk/>
            <pc:sldMk cId="2130383488" sldId="2229"/>
            <ac:spMk id="31" creationId="{66E0184F-2CEF-4353-B2BC-CA167E8BEF86}"/>
          </ac:spMkLst>
        </pc:spChg>
        <pc:spChg chg="del">
          <ac:chgData name="Ciro Ignacio Atorrasagasti" userId="7cd334dc-3e87-4a2c-a876-1e7636282ec9" providerId="ADAL" clId="{2C600B91-A08B-4037-951E-633E44AFB517}" dt="2022-01-20T19:00:39.798" v="235" actId="478"/>
          <ac:spMkLst>
            <pc:docMk/>
            <pc:sldMk cId="2130383488" sldId="2229"/>
            <ac:spMk id="32" creationId="{5DF8FF63-99CE-4FEC-8164-72F95D215D4A}"/>
          </ac:spMkLst>
        </pc:spChg>
      </pc:sldChg>
      <pc:sldChg chg="modSp mod">
        <pc:chgData name="Ciro Ignacio Atorrasagasti" userId="7cd334dc-3e87-4a2c-a876-1e7636282ec9" providerId="ADAL" clId="{2C600B91-A08B-4037-951E-633E44AFB517}" dt="2022-01-20T18:53:45.162" v="99" actId="20577"/>
        <pc:sldMkLst>
          <pc:docMk/>
          <pc:sldMk cId="2433364867" sldId="2230"/>
        </pc:sldMkLst>
        <pc:spChg chg="mod">
          <ac:chgData name="Ciro Ignacio Atorrasagasti" userId="7cd334dc-3e87-4a2c-a876-1e7636282ec9" providerId="ADAL" clId="{2C600B91-A08B-4037-951E-633E44AFB517}" dt="2022-01-20T18:53:45.162" v="99" actId="20577"/>
          <ac:spMkLst>
            <pc:docMk/>
            <pc:sldMk cId="2433364867" sldId="2230"/>
            <ac:spMk id="197" creationId="{AD0EFEE0-C6E9-4019-BF88-AB3C3CB50F7B}"/>
          </ac:spMkLst>
        </pc:spChg>
      </pc:sldChg>
      <pc:sldChg chg="modSp del mod">
        <pc:chgData name="Ciro Ignacio Atorrasagasti" userId="7cd334dc-3e87-4a2c-a876-1e7636282ec9" providerId="ADAL" clId="{2C600B91-A08B-4037-951E-633E44AFB517}" dt="2022-01-20T18:54:23.339" v="134" actId="47"/>
        <pc:sldMkLst>
          <pc:docMk/>
          <pc:sldMk cId="326469286" sldId="2259"/>
        </pc:sldMkLst>
        <pc:spChg chg="mod">
          <ac:chgData name="Ciro Ignacio Atorrasagasti" userId="7cd334dc-3e87-4a2c-a876-1e7636282ec9" providerId="ADAL" clId="{2C600B91-A08B-4037-951E-633E44AFB517}" dt="2022-01-20T18:53:53.944" v="115" actId="20577"/>
          <ac:spMkLst>
            <pc:docMk/>
            <pc:sldMk cId="326469286" sldId="2259"/>
            <ac:spMk id="21" creationId="{8DC5AF48-A51E-4339-BBC3-A791D745F7CF}"/>
          </ac:spMkLst>
        </pc:spChg>
        <pc:spChg chg="mod">
          <ac:chgData name="Ciro Ignacio Atorrasagasti" userId="7cd334dc-3e87-4a2c-a876-1e7636282ec9" providerId="ADAL" clId="{2C600B91-A08B-4037-951E-633E44AFB517}" dt="2022-01-20T18:54:01.289" v="133" actId="20577"/>
          <ac:spMkLst>
            <pc:docMk/>
            <pc:sldMk cId="326469286" sldId="2259"/>
            <ac:spMk id="33" creationId="{56941277-5E8F-4F87-90D9-8A9E478D78D0}"/>
          </ac:spMkLst>
        </pc:spChg>
      </pc:sldChg>
      <pc:sldChg chg="modSp mod">
        <pc:chgData name="Ciro Ignacio Atorrasagasti" userId="7cd334dc-3e87-4a2c-a876-1e7636282ec9" providerId="ADAL" clId="{2C600B91-A08B-4037-951E-633E44AFB517}" dt="2022-01-20T18:54:32.831" v="138" actId="20577"/>
        <pc:sldMkLst>
          <pc:docMk/>
          <pc:sldMk cId="675532761" sldId="2260"/>
        </pc:sldMkLst>
        <pc:spChg chg="mod">
          <ac:chgData name="Ciro Ignacio Atorrasagasti" userId="7cd334dc-3e87-4a2c-a876-1e7636282ec9" providerId="ADAL" clId="{2C600B91-A08B-4037-951E-633E44AFB517}" dt="2022-01-20T18:54:32.831" v="138" actId="20577"/>
          <ac:spMkLst>
            <pc:docMk/>
            <pc:sldMk cId="675532761" sldId="2260"/>
            <ac:spMk id="39" creationId="{994F0FEA-AC79-41A3-8F20-E2707DA89D95}"/>
          </ac:spMkLst>
        </pc:spChg>
      </pc:sldChg>
      <pc:sldChg chg="modSp mod">
        <pc:chgData name="Ciro Ignacio Atorrasagasti" userId="7cd334dc-3e87-4a2c-a876-1e7636282ec9" providerId="ADAL" clId="{2C600B91-A08B-4037-951E-633E44AFB517}" dt="2022-01-20T20:01:44.221" v="1595" actId="20577"/>
        <pc:sldMkLst>
          <pc:docMk/>
          <pc:sldMk cId="2033842533" sldId="2261"/>
        </pc:sldMkLst>
        <pc:spChg chg="mod">
          <ac:chgData name="Ciro Ignacio Atorrasagasti" userId="7cd334dc-3e87-4a2c-a876-1e7636282ec9" providerId="ADAL" clId="{2C600B91-A08B-4037-951E-633E44AFB517}" dt="2022-01-20T19:37:19.412" v="1014" actId="5793"/>
          <ac:spMkLst>
            <pc:docMk/>
            <pc:sldMk cId="2033842533" sldId="2261"/>
            <ac:spMk id="29" creationId="{FCE94EF3-FC33-47C0-9EBA-C4C5A3F3CE30}"/>
          </ac:spMkLst>
        </pc:spChg>
        <pc:spChg chg="mod">
          <ac:chgData name="Ciro Ignacio Atorrasagasti" userId="7cd334dc-3e87-4a2c-a876-1e7636282ec9" providerId="ADAL" clId="{2C600B91-A08B-4037-951E-633E44AFB517}" dt="2022-01-20T19:37:20.694" v="1015" actId="20577"/>
          <ac:spMkLst>
            <pc:docMk/>
            <pc:sldMk cId="2033842533" sldId="2261"/>
            <ac:spMk id="33" creationId="{56941277-5E8F-4F87-90D9-8A9E478D78D0}"/>
          </ac:spMkLst>
        </pc:spChg>
        <pc:spChg chg="mod">
          <ac:chgData name="Ciro Ignacio Atorrasagasti" userId="7cd334dc-3e87-4a2c-a876-1e7636282ec9" providerId="ADAL" clId="{2C600B91-A08B-4037-951E-633E44AFB517}" dt="2022-01-20T20:01:44.221" v="1595" actId="20577"/>
          <ac:spMkLst>
            <pc:docMk/>
            <pc:sldMk cId="2033842533" sldId="2261"/>
            <ac:spMk id="37" creationId="{9E1538F6-D9DF-4591-BEF9-261CF3134DC6}"/>
          </ac:spMkLst>
        </pc:spChg>
      </pc:sldChg>
      <pc:sldChg chg="modSp mod">
        <pc:chgData name="Ciro Ignacio Atorrasagasti" userId="7cd334dc-3e87-4a2c-a876-1e7636282ec9" providerId="ADAL" clId="{2C600B91-A08B-4037-951E-633E44AFB517}" dt="2022-01-20T19:38:10.829" v="1146" actId="6549"/>
        <pc:sldMkLst>
          <pc:docMk/>
          <pc:sldMk cId="609509282" sldId="2262"/>
        </pc:sldMkLst>
        <pc:spChg chg="mod">
          <ac:chgData name="Ciro Ignacio Atorrasagasti" userId="7cd334dc-3e87-4a2c-a876-1e7636282ec9" providerId="ADAL" clId="{2C600B91-A08B-4037-951E-633E44AFB517}" dt="2022-01-20T19:29:02.102" v="880" actId="20577"/>
          <ac:spMkLst>
            <pc:docMk/>
            <pc:sldMk cId="609509282" sldId="2262"/>
            <ac:spMk id="33" creationId="{56941277-5E8F-4F87-90D9-8A9E478D78D0}"/>
          </ac:spMkLst>
        </pc:spChg>
        <pc:spChg chg="mod">
          <ac:chgData name="Ciro Ignacio Atorrasagasti" userId="7cd334dc-3e87-4a2c-a876-1e7636282ec9" providerId="ADAL" clId="{2C600B91-A08B-4037-951E-633E44AFB517}" dt="2022-01-20T19:38:10.829" v="1146" actId="6549"/>
          <ac:spMkLst>
            <pc:docMk/>
            <pc:sldMk cId="609509282" sldId="2262"/>
            <ac:spMk id="37" creationId="{9E1538F6-D9DF-4591-BEF9-261CF3134DC6}"/>
          </ac:spMkLst>
        </pc:spChg>
      </pc:sldChg>
      <pc:sldChg chg="modSp mod">
        <pc:chgData name="Ciro Ignacio Atorrasagasti" userId="7cd334dc-3e87-4a2c-a876-1e7636282ec9" providerId="ADAL" clId="{2C600B91-A08B-4037-951E-633E44AFB517}" dt="2022-01-20T18:52:36.449" v="83" actId="20577"/>
        <pc:sldMkLst>
          <pc:docMk/>
          <pc:sldMk cId="295593208" sldId="2286"/>
        </pc:sldMkLst>
        <pc:spChg chg="mod">
          <ac:chgData name="Ciro Ignacio Atorrasagasti" userId="7cd334dc-3e87-4a2c-a876-1e7636282ec9" providerId="ADAL" clId="{2C600B91-A08B-4037-951E-633E44AFB517}" dt="2022-01-20T18:52:36.449" v="83" actId="20577"/>
          <ac:spMkLst>
            <pc:docMk/>
            <pc:sldMk cId="295593208" sldId="2286"/>
            <ac:spMk id="17" creationId="{55782520-8B31-4019-B444-0AC5D452EE9A}"/>
          </ac:spMkLst>
        </pc:spChg>
      </pc:sldChg>
      <pc:sldChg chg="addSp modSp mod">
        <pc:chgData name="Ciro Ignacio Atorrasagasti" userId="7cd334dc-3e87-4a2c-a876-1e7636282ec9" providerId="ADAL" clId="{2C600B91-A08B-4037-951E-633E44AFB517}" dt="2022-01-20T19:05:20.073" v="429" actId="20577"/>
        <pc:sldMkLst>
          <pc:docMk/>
          <pc:sldMk cId="2312459569" sldId="2294"/>
        </pc:sldMkLst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8" creationId="{5D4AE717-A9B6-4D0C-963B-E49254E5B214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10" creationId="{909B4A63-539F-4EA6-B6D6-615796BD5F2A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11" creationId="{C00484D5-47F3-4565-8F3E-6F023A69EFA1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13" creationId="{14540237-18B9-4440-BB34-F3FC5B837416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14" creationId="{24EFFF4B-5717-44E5-B96F-C7FC197F3131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16" creationId="{DDCE2B32-907C-4C25-A120-DA9C2E2BA2C3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17" creationId="{C6B56936-F95C-4352-B4BF-66B6DC98177E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19" creationId="{D1E4C7CF-1EDE-48A5-A29A-6AA11702636F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20" creationId="{9E3E523E-2E89-48BE-8165-00E8793789F0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21" creationId="{AB2C82F8-3A3E-4030-B283-1C7DF0650268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23" creationId="{DFFB3480-5251-42AB-B510-0F064EEEDC5D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26" creationId="{04D9F645-24B8-48AD-A2DB-C393F149212E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27" creationId="{FA8727F4-66F7-4C4E-A180-8B0C2DB1AB99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29" creationId="{5B5C918E-8796-48DC-BD0C-4671A7241B3F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0" creationId="{BEC15E70-9C30-48D7-9622-7CBF07DB093F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1" creationId="{B57C3D00-6434-4600-A399-44975104A9AC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2" creationId="{778F33F5-0FF4-455C-B9E7-BB4823DAAEED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3" creationId="{0FE56CCA-E1B0-4C90-B921-88CED69E9D6F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4" creationId="{AE2D506B-1DD1-465F-82DC-5AC63BABB052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5" creationId="{3302BDF0-08A9-4D43-A8CE-AE7D60A87C13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6" creationId="{D28B0EF0-65CD-4560-9E76-077704AB0AA3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7" creationId="{C94EA7DF-8A93-4553-966E-76AFE631A22D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8" creationId="{D2F279F7-5B71-4E7F-8130-61E0EBF9B8AA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39" creationId="{977F4E1F-094D-4FB1-A4D0-50E3E546C979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0" creationId="{83E5F70E-5300-41D5-A8D0-D4B7345A633C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1" creationId="{59B55B16-9991-48F3-BE43-830CD5F7A32F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2" creationId="{5FFC6CA7-FCE4-43F6-AC8E-6D039A57B6B3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3" creationId="{211CBDD9-CA78-452B-8692-546983BD080A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4" creationId="{408B5D8C-E8AF-40FD-9A7E-6CFBAFD7AE66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5" creationId="{9EB9B548-DFD2-498E-AA25-3C29E6422BF9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6" creationId="{C936A5F9-747A-40B1-BF0D-D6C02AA9370D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7" creationId="{468B1F65-BD35-443C-9DC0-23B7BD5ECA1A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8" creationId="{19BB473C-A15D-489A-84C0-68F1557E6164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49" creationId="{59922518-064D-4DE6-BE72-851FF0FA270E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0" creationId="{45EBA963-9F29-4EA7-99FC-A8A4ABB836F1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1" creationId="{05DB4042-11A1-44E2-AEAA-897DFE5C8D5E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2" creationId="{428BF81E-5EBD-4F8E-92FE-8EAEECC7418C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3" creationId="{7C87090B-B8B9-4CEE-B172-AE69202CAE91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4" creationId="{F1226DDF-D643-4204-8C3B-25B6B47D78D7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5" creationId="{8C054130-7BD3-4DED-964B-A7D667BAABC2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6" creationId="{C86E359F-6CFE-4CF6-9514-9E9C09AF65C8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7" creationId="{02E24FBD-6FEF-4071-AF58-757A8F1809A4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8" creationId="{01F3A05F-CA25-439B-A7B1-B43021DC4467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59" creationId="{FE1D17D7-8F63-4A65-AAB9-659AF68E160B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0" creationId="{AA525DA2-9B5E-4D1A-A7D5-C2D93057B27B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1" creationId="{21972533-027F-47AE-B518-28FE418145D2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2" creationId="{653C48F8-AA54-47D7-8CEE-F8EDE4F2FCA5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3" creationId="{23EAAC9B-8114-4AB0-91FC-7BAE26FD6A63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4" creationId="{7B6597D8-11BD-4F68-95EF-AEF55290A917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5" creationId="{D1A4C678-9962-4A55-A477-78E74133128A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6" creationId="{BC90B2E1-6613-4FAB-9B54-3EBC5C1CF519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7" creationId="{227875BB-6AF5-4703-84C6-F8E421F2D9B0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8" creationId="{33155A60-331C-4238-A984-E8563191FD80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69" creationId="{78EC2AE1-54B0-4CCC-86F2-398509909B28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0" creationId="{3BF217F9-69D5-4B35-AE44-6C66FBB3EA6F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1" creationId="{4784487C-D1B6-4EC3-9132-F2C5E21B21CF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2" creationId="{8E09C5DD-0091-49D2-A65D-7D3D56F15FDE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3" creationId="{3EA86F26-1598-4616-9EC1-A01116A73BFA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4" creationId="{577AF18C-C031-4FD5-BFDE-DECFE6EE9D56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5" creationId="{1D4F5ECF-5499-4AA9-84A5-D0BBD5C93522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6" creationId="{E1B634E5-8B1E-4D8A-A49C-B3F208DF10CC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7" creationId="{1A3988B1-66C0-453A-9BED-8B2C1EC72725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8" creationId="{92995B1D-6BD6-4697-94B3-51D506538F6A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79" creationId="{9823D2FD-B604-444D-93CF-6755807A67A2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80" creationId="{BD68B042-08F0-4294-AE30-E03340293FAB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81" creationId="{D93AE0A9-C4FD-42F8-92B7-F0C1D1B1531C}"/>
          </ac:spMkLst>
        </pc:spChg>
        <pc:spChg chg="mod">
          <ac:chgData name="Ciro Ignacio Atorrasagasti" userId="7cd334dc-3e87-4a2c-a876-1e7636282ec9" providerId="ADAL" clId="{2C600B91-A08B-4037-951E-633E44AFB517}" dt="2022-01-20T19:04:01.056" v="374" actId="1076"/>
          <ac:spMkLst>
            <pc:docMk/>
            <pc:sldMk cId="2312459569" sldId="2294"/>
            <ac:spMk id="82" creationId="{49F74498-FAD4-4447-9537-12978A38F5A4}"/>
          </ac:spMkLst>
        </pc:spChg>
        <pc:spChg chg="mod">
          <ac:chgData name="Ciro Ignacio Atorrasagasti" userId="7cd334dc-3e87-4a2c-a876-1e7636282ec9" providerId="ADAL" clId="{2C600B91-A08B-4037-951E-633E44AFB517}" dt="2022-01-20T19:04:05.436" v="375" actId="1076"/>
          <ac:spMkLst>
            <pc:docMk/>
            <pc:sldMk cId="2312459569" sldId="2294"/>
            <ac:spMk id="83" creationId="{C5535C92-FE18-4498-BAD0-D82B228F8562}"/>
          </ac:spMkLst>
        </pc:spChg>
        <pc:spChg chg="add mod">
          <ac:chgData name="Ciro Ignacio Atorrasagasti" userId="7cd334dc-3e87-4a2c-a876-1e7636282ec9" providerId="ADAL" clId="{2C600B91-A08B-4037-951E-633E44AFB517}" dt="2022-01-20T19:05:07.658" v="389" actId="20577"/>
          <ac:spMkLst>
            <pc:docMk/>
            <pc:sldMk cId="2312459569" sldId="2294"/>
            <ac:spMk id="84" creationId="{D57BFF6C-CF89-406D-879F-D8D2F29A95F9}"/>
          </ac:spMkLst>
        </pc:spChg>
        <pc:spChg chg="add mod">
          <ac:chgData name="Ciro Ignacio Atorrasagasti" userId="7cd334dc-3e87-4a2c-a876-1e7636282ec9" providerId="ADAL" clId="{2C600B91-A08B-4037-951E-633E44AFB517}" dt="2022-01-20T19:05:09.881" v="395" actId="20577"/>
          <ac:spMkLst>
            <pc:docMk/>
            <pc:sldMk cId="2312459569" sldId="2294"/>
            <ac:spMk id="85" creationId="{15DA77CE-E543-45C8-A7E9-FE6568D8D25E}"/>
          </ac:spMkLst>
        </pc:spChg>
        <pc:spChg chg="add mod">
          <ac:chgData name="Ciro Ignacio Atorrasagasti" userId="7cd334dc-3e87-4a2c-a876-1e7636282ec9" providerId="ADAL" clId="{2C600B91-A08B-4037-951E-633E44AFB517}" dt="2022-01-20T19:05:13.445" v="405" actId="20577"/>
          <ac:spMkLst>
            <pc:docMk/>
            <pc:sldMk cId="2312459569" sldId="2294"/>
            <ac:spMk id="86" creationId="{13A1E38C-BA5E-49E4-AC12-C0DB42BA9D93}"/>
          </ac:spMkLst>
        </pc:spChg>
        <pc:spChg chg="add mod">
          <ac:chgData name="Ciro Ignacio Atorrasagasti" userId="7cd334dc-3e87-4a2c-a876-1e7636282ec9" providerId="ADAL" clId="{2C600B91-A08B-4037-951E-633E44AFB517}" dt="2022-01-20T19:05:20.073" v="429" actId="20577"/>
          <ac:spMkLst>
            <pc:docMk/>
            <pc:sldMk cId="2312459569" sldId="2294"/>
            <ac:spMk id="87" creationId="{AEF95775-3B26-4D6E-B419-F2AB20D788D4}"/>
          </ac:spMkLst>
        </pc:spChg>
        <pc:spChg chg="mod">
          <ac:chgData name="Ciro Ignacio Atorrasagasti" userId="7cd334dc-3e87-4a2c-a876-1e7636282ec9" providerId="ADAL" clId="{2C600B91-A08B-4037-951E-633E44AFB517}" dt="2022-01-20T19:04:51.764" v="384" actId="14100"/>
          <ac:spMkLst>
            <pc:docMk/>
            <pc:sldMk cId="2312459569" sldId="2294"/>
            <ac:spMk id="101" creationId="{A2290C29-1DFB-4941-9A7F-2708CE26401B}"/>
          </ac:spMkLst>
        </pc:spChg>
        <pc:picChg chg="mod">
          <ac:chgData name="Ciro Ignacio Atorrasagasti" userId="7cd334dc-3e87-4a2c-a876-1e7636282ec9" providerId="ADAL" clId="{2C600B91-A08B-4037-951E-633E44AFB517}" dt="2022-01-20T19:04:54.572" v="385" actId="1076"/>
          <ac:picMkLst>
            <pc:docMk/>
            <pc:sldMk cId="2312459569" sldId="2294"/>
            <ac:picMk id="102" creationId="{C5703877-E2F9-4FCD-B977-4ACBF720088B}"/>
          </ac:picMkLst>
        </pc:picChg>
      </pc:sldChg>
      <pc:sldChg chg="modSp mod">
        <pc:chgData name="Ciro Ignacio Atorrasagasti" userId="7cd334dc-3e87-4a2c-a876-1e7636282ec9" providerId="ADAL" clId="{2C600B91-A08B-4037-951E-633E44AFB517}" dt="2022-01-20T18:54:54.120" v="158" actId="20577"/>
        <pc:sldMkLst>
          <pc:docMk/>
          <pc:sldMk cId="2452716471" sldId="2321"/>
        </pc:sldMkLst>
        <pc:spChg chg="mod">
          <ac:chgData name="Ciro Ignacio Atorrasagasti" userId="7cd334dc-3e87-4a2c-a876-1e7636282ec9" providerId="ADAL" clId="{2C600B91-A08B-4037-951E-633E44AFB517}" dt="2022-01-20T18:54:54.120" v="158" actId="20577"/>
          <ac:spMkLst>
            <pc:docMk/>
            <pc:sldMk cId="2452716471" sldId="2321"/>
            <ac:spMk id="33" creationId="{56941277-5E8F-4F87-90D9-8A9E478D78D0}"/>
          </ac:spMkLst>
        </pc:spChg>
      </pc:sldChg>
      <pc:sldChg chg="modSp mod">
        <pc:chgData name="Ciro Ignacio Atorrasagasti" userId="7cd334dc-3e87-4a2c-a876-1e7636282ec9" providerId="ADAL" clId="{2C600B91-A08B-4037-951E-633E44AFB517}" dt="2022-01-20T20:03:19.663" v="1695" actId="20577"/>
        <pc:sldMkLst>
          <pc:docMk/>
          <pc:sldMk cId="2678309710" sldId="2322"/>
        </pc:sldMkLst>
        <pc:spChg chg="mod">
          <ac:chgData name="Ciro Ignacio Atorrasagasti" userId="7cd334dc-3e87-4a2c-a876-1e7636282ec9" providerId="ADAL" clId="{2C600B91-A08B-4037-951E-633E44AFB517}" dt="2022-01-20T20:03:19.663" v="1695" actId="20577"/>
          <ac:spMkLst>
            <pc:docMk/>
            <pc:sldMk cId="2678309710" sldId="2322"/>
            <ac:spMk id="39" creationId="{994F0FEA-AC79-41A3-8F20-E2707DA89D95}"/>
          </ac:spMkLst>
        </pc:spChg>
      </pc:sldChg>
      <pc:sldChg chg="modSp mod">
        <pc:chgData name="Ciro Ignacio Atorrasagasti" userId="7cd334dc-3e87-4a2c-a876-1e7636282ec9" providerId="ADAL" clId="{2C600B91-A08B-4037-951E-633E44AFB517}" dt="2022-01-20T18:55:29.121" v="234" actId="20577"/>
        <pc:sldMkLst>
          <pc:docMk/>
          <pc:sldMk cId="126284095" sldId="2324"/>
        </pc:sldMkLst>
        <pc:spChg chg="mod">
          <ac:chgData name="Ciro Ignacio Atorrasagasti" userId="7cd334dc-3e87-4a2c-a876-1e7636282ec9" providerId="ADAL" clId="{2C600B91-A08B-4037-951E-633E44AFB517}" dt="2022-01-20T18:55:00.820" v="162" actId="20577"/>
          <ac:spMkLst>
            <pc:docMk/>
            <pc:sldMk cId="126284095" sldId="2324"/>
            <ac:spMk id="33" creationId="{56941277-5E8F-4F87-90D9-8A9E478D78D0}"/>
          </ac:spMkLst>
        </pc:spChg>
        <pc:spChg chg="mod">
          <ac:chgData name="Ciro Ignacio Atorrasagasti" userId="7cd334dc-3e87-4a2c-a876-1e7636282ec9" providerId="ADAL" clId="{2C600B91-A08B-4037-951E-633E44AFB517}" dt="2022-01-20T18:55:29.121" v="234" actId="20577"/>
          <ac:spMkLst>
            <pc:docMk/>
            <pc:sldMk cId="126284095" sldId="2324"/>
            <ac:spMk id="37" creationId="{9E1538F6-D9DF-4591-BEF9-261CF3134DC6}"/>
          </ac:spMkLst>
        </pc:spChg>
      </pc:sldChg>
      <pc:sldChg chg="modSp mod">
        <pc:chgData name="Ciro Ignacio Atorrasagasti" userId="7cd334dc-3e87-4a2c-a876-1e7636282ec9" providerId="ADAL" clId="{2C600B91-A08B-4037-951E-633E44AFB517}" dt="2022-01-24T14:10:48.661" v="1704" actId="20577"/>
        <pc:sldMkLst>
          <pc:docMk/>
          <pc:sldMk cId="1317625792" sldId="2366"/>
        </pc:sldMkLst>
        <pc:spChg chg="mod">
          <ac:chgData name="Ciro Ignacio Atorrasagasti" userId="7cd334dc-3e87-4a2c-a876-1e7636282ec9" providerId="ADAL" clId="{2C600B91-A08B-4037-951E-633E44AFB517}" dt="2022-01-20T19:30:34.344" v="888" actId="20577"/>
          <ac:spMkLst>
            <pc:docMk/>
            <pc:sldMk cId="1317625792" sldId="2366"/>
            <ac:spMk id="29" creationId="{8A9BFAC8-FDA5-4681-B6CE-E84AE12FAB1D}"/>
          </ac:spMkLst>
        </pc:spChg>
        <pc:spChg chg="mod">
          <ac:chgData name="Ciro Ignacio Atorrasagasti" userId="7cd334dc-3e87-4a2c-a876-1e7636282ec9" providerId="ADAL" clId="{2C600B91-A08B-4037-951E-633E44AFB517}" dt="2022-01-24T14:10:48.661" v="1704" actId="20577"/>
          <ac:spMkLst>
            <pc:docMk/>
            <pc:sldMk cId="1317625792" sldId="2366"/>
            <ac:spMk id="37" creationId="{4E878D11-E47E-4569-BD5B-3861F04C6F7F}"/>
          </ac:spMkLst>
        </pc:spChg>
        <pc:spChg chg="mod">
          <ac:chgData name="Ciro Ignacio Atorrasagasti" userId="7cd334dc-3e87-4a2c-a876-1e7636282ec9" providerId="ADAL" clId="{2C600B91-A08B-4037-951E-633E44AFB517}" dt="2022-01-20T19:02:44.581" v="296" actId="20577"/>
          <ac:spMkLst>
            <pc:docMk/>
            <pc:sldMk cId="1317625792" sldId="2366"/>
            <ac:spMk id="86" creationId="{45D001F5-B460-465E-94C7-F6AE9A011BD1}"/>
          </ac:spMkLst>
        </pc:spChg>
        <pc:spChg chg="mod">
          <ac:chgData name="Ciro Ignacio Atorrasagasti" userId="7cd334dc-3e87-4a2c-a876-1e7636282ec9" providerId="ADAL" clId="{2C600B91-A08B-4037-951E-633E44AFB517}" dt="2022-01-20T19:25:25.805" v="707" actId="20577"/>
          <ac:spMkLst>
            <pc:docMk/>
            <pc:sldMk cId="1317625792" sldId="2366"/>
            <ac:spMk id="95" creationId="{8323FDC5-4E53-46DA-A6BB-2045E180D2E8}"/>
          </ac:spMkLst>
        </pc:spChg>
      </pc:sldChg>
      <pc:sldChg chg="modSp mod">
        <pc:chgData name="Ciro Ignacio Atorrasagasti" userId="7cd334dc-3e87-4a2c-a876-1e7636282ec9" providerId="ADAL" clId="{2C600B91-A08B-4037-951E-633E44AFB517}" dt="2022-01-20T18:50:27.340" v="13" actId="20577"/>
        <pc:sldMkLst>
          <pc:docMk/>
          <pc:sldMk cId="3952970491" sldId="2371"/>
        </pc:sldMkLst>
        <pc:spChg chg="mod">
          <ac:chgData name="Ciro Ignacio Atorrasagasti" userId="7cd334dc-3e87-4a2c-a876-1e7636282ec9" providerId="ADAL" clId="{2C600B91-A08B-4037-951E-633E44AFB517}" dt="2022-01-20T18:50:27.340" v="13" actId="20577"/>
          <ac:spMkLst>
            <pc:docMk/>
            <pc:sldMk cId="3952970491" sldId="2371"/>
            <ac:spMk id="328" creationId="{2761DFF5-A9CF-42BF-9989-5D6DBEE1C6EC}"/>
          </ac:spMkLst>
        </pc:spChg>
      </pc:sldChg>
      <pc:sldChg chg="delSp modSp mod">
        <pc:chgData name="Ciro Ignacio Atorrasagasti" userId="7cd334dc-3e87-4a2c-a876-1e7636282ec9" providerId="ADAL" clId="{2C600B91-A08B-4037-951E-633E44AFB517}" dt="2022-01-20T18:52:12.893" v="73" actId="14734"/>
        <pc:sldMkLst>
          <pc:docMk/>
          <pc:sldMk cId="396485121" sldId="2373"/>
        </pc:sldMkLst>
        <pc:spChg chg="mod">
          <ac:chgData name="Ciro Ignacio Atorrasagasti" userId="7cd334dc-3e87-4a2c-a876-1e7636282ec9" providerId="ADAL" clId="{2C600B91-A08B-4037-951E-633E44AFB517}" dt="2022-01-20T18:51:37.132" v="63" actId="20577"/>
          <ac:spMkLst>
            <pc:docMk/>
            <pc:sldMk cId="396485121" sldId="2373"/>
            <ac:spMk id="61" creationId="{4BC5C036-44D3-4F19-B3D5-E036114D255D}"/>
          </ac:spMkLst>
        </pc:spChg>
        <pc:spChg chg="mod">
          <ac:chgData name="Ciro Ignacio Atorrasagasti" userId="7cd334dc-3e87-4a2c-a876-1e7636282ec9" providerId="ADAL" clId="{2C600B91-A08B-4037-951E-633E44AFB517}" dt="2022-01-20T18:51:41.782" v="64"/>
          <ac:spMkLst>
            <pc:docMk/>
            <pc:sldMk cId="396485121" sldId="2373"/>
            <ac:spMk id="68" creationId="{83EF1FBA-8EEA-4659-96FC-68077B347408}"/>
          </ac:spMkLst>
        </pc:spChg>
        <pc:spChg chg="del">
          <ac:chgData name="Ciro Ignacio Atorrasagasti" userId="7cd334dc-3e87-4a2c-a876-1e7636282ec9" providerId="ADAL" clId="{2C600B91-A08B-4037-951E-633E44AFB517}" dt="2022-01-20T18:51:45.472" v="65" actId="478"/>
          <ac:spMkLst>
            <pc:docMk/>
            <pc:sldMk cId="396485121" sldId="2373"/>
            <ac:spMk id="96" creationId="{D55C2C83-A74C-4BD1-A37E-849DD5AD0E1B}"/>
          </ac:spMkLst>
        </pc:spChg>
        <pc:spChg chg="del">
          <ac:chgData name="Ciro Ignacio Atorrasagasti" userId="7cd334dc-3e87-4a2c-a876-1e7636282ec9" providerId="ADAL" clId="{2C600B91-A08B-4037-951E-633E44AFB517}" dt="2022-01-20T18:51:45.472" v="65" actId="478"/>
          <ac:spMkLst>
            <pc:docMk/>
            <pc:sldMk cId="396485121" sldId="2373"/>
            <ac:spMk id="101" creationId="{49234682-C59A-44A2-BBE2-98EDB542E6E3}"/>
          </ac:spMkLst>
        </pc:spChg>
        <pc:graphicFrameChg chg="mod modGraphic">
          <ac:chgData name="Ciro Ignacio Atorrasagasti" userId="7cd334dc-3e87-4a2c-a876-1e7636282ec9" providerId="ADAL" clId="{2C600B91-A08B-4037-951E-633E44AFB517}" dt="2022-01-20T18:52:12.893" v="73" actId="14734"/>
          <ac:graphicFrameMkLst>
            <pc:docMk/>
            <pc:sldMk cId="396485121" sldId="2373"/>
            <ac:graphicFrameMk id="73" creationId="{EC078648-D5FD-4F43-9B62-0087E78752A5}"/>
          </ac:graphicFrameMkLst>
        </pc:graphicFrameChg>
      </pc:sldChg>
      <pc:sldChg chg="addSp delSp modSp mod">
        <pc:chgData name="Ciro Ignacio Atorrasagasti" userId="7cd334dc-3e87-4a2c-a876-1e7636282ec9" providerId="ADAL" clId="{2C600B91-A08B-4037-951E-633E44AFB517}" dt="2022-01-24T14:13:10.714" v="1717" actId="1035"/>
        <pc:sldMkLst>
          <pc:docMk/>
          <pc:sldMk cId="1021200000" sldId="2377"/>
        </pc:sldMkLst>
        <pc:spChg chg="add del mod">
          <ac:chgData name="Ciro Ignacio Atorrasagasti" userId="7cd334dc-3e87-4a2c-a876-1e7636282ec9" providerId="ADAL" clId="{2C600B91-A08B-4037-951E-633E44AFB517}" dt="2022-01-20T19:01:53.205" v="280"/>
          <ac:spMkLst>
            <pc:docMk/>
            <pc:sldMk cId="1021200000" sldId="2377"/>
            <ac:spMk id="101" creationId="{84099876-6567-4056-A146-99846C302F43}"/>
          </ac:spMkLst>
        </pc:spChg>
        <pc:spChg chg="mod">
          <ac:chgData name="Ciro Ignacio Atorrasagasti" userId="7cd334dc-3e87-4a2c-a876-1e7636282ec9" providerId="ADAL" clId="{2C600B91-A08B-4037-951E-633E44AFB517}" dt="2022-01-20T19:01:56.382" v="282" actId="20577"/>
          <ac:spMkLst>
            <pc:docMk/>
            <pc:sldMk cId="1021200000" sldId="2377"/>
            <ac:spMk id="174" creationId="{80C4278B-871B-4655-87F4-ABBE5C470FB0}"/>
          </ac:spMkLst>
        </pc:spChg>
        <pc:spChg chg="add del mod">
          <ac:chgData name="Ciro Ignacio Atorrasagasti" userId="7cd334dc-3e87-4a2c-a876-1e7636282ec9" providerId="ADAL" clId="{2C600B91-A08B-4037-951E-633E44AFB517}" dt="2022-01-20T18:50:50.840" v="33" actId="20577"/>
          <ac:spMkLst>
            <pc:docMk/>
            <pc:sldMk cId="1021200000" sldId="2377"/>
            <ac:spMk id="176" creationId="{4D06414F-AB1A-4883-8FD1-4CD16546DC2C}"/>
          </ac:spMkLst>
        </pc:spChg>
        <pc:spChg chg="del mod">
          <ac:chgData name="Ciro Ignacio Atorrasagasti" userId="7cd334dc-3e87-4a2c-a876-1e7636282ec9" providerId="ADAL" clId="{2C600B91-A08B-4037-951E-633E44AFB517}" dt="2022-01-20T18:50:53.904" v="34" actId="478"/>
          <ac:spMkLst>
            <pc:docMk/>
            <pc:sldMk cId="1021200000" sldId="2377"/>
            <ac:spMk id="178" creationId="{A1400579-8193-4CFA-B51C-3907B49BE21B}"/>
          </ac:spMkLst>
        </pc:spChg>
        <pc:spChg chg="mod">
          <ac:chgData name="Ciro Ignacio Atorrasagasti" userId="7cd334dc-3e87-4a2c-a876-1e7636282ec9" providerId="ADAL" clId="{2C600B91-A08B-4037-951E-633E44AFB517}" dt="2022-01-20T19:39:04.201" v="1234" actId="14100"/>
          <ac:spMkLst>
            <pc:docMk/>
            <pc:sldMk cId="1021200000" sldId="2377"/>
            <ac:spMk id="235" creationId="{829FDB1D-DA4A-4ACD-BB82-CABF98828985}"/>
          </ac:spMkLst>
        </pc:spChg>
        <pc:picChg chg="mod">
          <ac:chgData name="Ciro Ignacio Atorrasagasti" userId="7cd334dc-3e87-4a2c-a876-1e7636282ec9" providerId="ADAL" clId="{2C600B91-A08B-4037-951E-633E44AFB517}" dt="2022-01-24T14:13:10.714" v="1717" actId="1035"/>
          <ac:picMkLst>
            <pc:docMk/>
            <pc:sldMk cId="1021200000" sldId="2377"/>
            <ac:picMk id="236" creationId="{26547A06-2677-470F-9469-67113DA9ACCB}"/>
          </ac:picMkLst>
        </pc:picChg>
      </pc:sldChg>
      <pc:sldChg chg="delSp modSp mod">
        <pc:chgData name="Ciro Ignacio Atorrasagasti" userId="7cd334dc-3e87-4a2c-a876-1e7636282ec9" providerId="ADAL" clId="{2C600B91-A08B-4037-951E-633E44AFB517}" dt="2022-01-20T19:41:31.009" v="1491" actId="1035"/>
        <pc:sldMkLst>
          <pc:docMk/>
          <pc:sldMk cId="3730063948" sldId="2385"/>
        </pc:sldMkLst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59" creationId="{2DF2AFDA-E709-4743-AD5C-AE7447F5BB05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62" creationId="{6DE0750B-AA87-4628-B270-4A477FB88818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68" creationId="{586D6CD4-292E-4323-B54B-B44CF51EF603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75" creationId="{E9267548-1CD5-4BFB-AB22-5B76BF8A36E7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77" creationId="{E159FCAB-8D17-4ECF-80FF-049100C08A07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84" creationId="{4B803C7F-E605-4CDF-B35A-227FEDF057E1}"/>
          </ac:spMkLst>
        </pc:spChg>
        <pc:spChg chg="del">
          <ac:chgData name="Ciro Ignacio Atorrasagasti" userId="7cd334dc-3e87-4a2c-a876-1e7636282ec9" providerId="ADAL" clId="{2C600B91-A08B-4037-951E-633E44AFB517}" dt="2022-01-20T18:51:09.865" v="43" actId="478"/>
          <ac:spMkLst>
            <pc:docMk/>
            <pc:sldMk cId="3730063948" sldId="2385"/>
            <ac:spMk id="190" creationId="{37B8C984-7727-459A-A87A-D67AAEDF52AB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93" creationId="{1F5837C1-5321-42CF-B59B-37CCDBABD9BE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95" creationId="{35200B6E-D388-4108-9FED-D223AC11DAA7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96" creationId="{76D2B2F6-406B-4485-979A-0EF5CDCC7A7F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197" creationId="{EB1E029D-29E5-4B04-A146-08C4D4B2C28E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200" creationId="{7BA3AE42-8CCA-42FC-94B8-C286C5C1F3B9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206" creationId="{F5DD0388-A68B-45D0-929D-148F255D0A10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221" creationId="{E0E9F45B-449E-4D60-B0CF-B1A755FCFE99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223" creationId="{B7E28086-18E5-42A2-B26B-55F763F81184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226" creationId="{A3AE7B14-F3C6-4751-ABE0-11185248AD2D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229" creationId="{E178EAB1-91DB-489B-88AB-8B542799BEE8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230" creationId="{47E4D02F-738A-46D9-AA7F-0BC10FAA126F}"/>
          </ac:spMkLst>
        </pc:spChg>
        <pc:spChg chg="mod">
          <ac:chgData name="Ciro Ignacio Atorrasagasti" userId="7cd334dc-3e87-4a2c-a876-1e7636282ec9" providerId="ADAL" clId="{2C600B91-A08B-4037-951E-633E44AFB517}" dt="2022-01-20T19:41:31.009" v="1491" actId="1035"/>
          <ac:spMkLst>
            <pc:docMk/>
            <pc:sldMk cId="3730063948" sldId="2385"/>
            <ac:spMk id="231" creationId="{73EAD0F1-8052-4386-A6B6-D077712CA7B2}"/>
          </ac:spMkLst>
        </pc:spChg>
        <pc:spChg chg="mod">
          <ac:chgData name="Ciro Ignacio Atorrasagasti" userId="7cd334dc-3e87-4a2c-a876-1e7636282ec9" providerId="ADAL" clId="{2C600B91-A08B-4037-951E-633E44AFB517}" dt="2022-01-20T19:40:23.871" v="1466" actId="20577"/>
          <ac:spMkLst>
            <pc:docMk/>
            <pc:sldMk cId="3730063948" sldId="2385"/>
            <ac:spMk id="240" creationId="{82BC7488-7E6A-4BE9-B4AD-8FF4582B44B7}"/>
          </ac:spMkLst>
        </pc:spChg>
        <pc:picChg chg="mod">
          <ac:chgData name="Ciro Ignacio Atorrasagasti" userId="7cd334dc-3e87-4a2c-a876-1e7636282ec9" providerId="ADAL" clId="{2C600B91-A08B-4037-951E-633E44AFB517}" dt="2022-01-20T19:41:31.009" v="1491" actId="1035"/>
          <ac:picMkLst>
            <pc:docMk/>
            <pc:sldMk cId="3730063948" sldId="2385"/>
            <ac:picMk id="198" creationId="{5BAA947A-8D21-46CF-9084-B68612311477}"/>
          </ac:picMkLst>
        </pc:picChg>
        <pc:picChg chg="mod">
          <ac:chgData name="Ciro Ignacio Atorrasagasti" userId="7cd334dc-3e87-4a2c-a876-1e7636282ec9" providerId="ADAL" clId="{2C600B91-A08B-4037-951E-633E44AFB517}" dt="2022-01-20T19:41:31.009" v="1491" actId="1035"/>
          <ac:picMkLst>
            <pc:docMk/>
            <pc:sldMk cId="3730063948" sldId="2385"/>
            <ac:picMk id="232" creationId="{6BB34A51-4DD6-44B0-BE0B-8991A360AA59}"/>
          </ac:picMkLst>
        </pc:picChg>
      </pc:sldChg>
      <pc:sldChg chg="delSp modSp mod">
        <pc:chgData name="Ciro Ignacio Atorrasagasti" userId="7cd334dc-3e87-4a2c-a876-1e7636282ec9" providerId="ADAL" clId="{2C600B91-A08B-4037-951E-633E44AFB517}" dt="2022-01-20T19:41:18.380" v="1483" actId="1035"/>
        <pc:sldMkLst>
          <pc:docMk/>
          <pc:sldMk cId="1164617817" sldId="2387"/>
        </pc:sldMkLst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5" creationId="{254B9F47-CB5D-4B7B-9168-D1E8197AEADA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38" creationId="{CAE545DA-A9FD-4195-91EF-A75BF5A2E2D4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0" creationId="{2039F1C9-7943-4F06-84D3-D7E23E5A9E81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1" creationId="{817782E4-AE75-4845-952A-8B15A9BB3F80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2" creationId="{B076D566-A681-4E6B-97D0-C6DFF5E85AFA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3" creationId="{29295E50-B723-48EE-940E-D0B1AE7AB3DF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4" creationId="{93F6EFCC-F999-4A07-BA3E-B7C3EE17C77C}"/>
          </ac:spMkLst>
        </pc:spChg>
        <pc:spChg chg="del">
          <ac:chgData name="Ciro Ignacio Atorrasagasti" userId="7cd334dc-3e87-4a2c-a876-1e7636282ec9" providerId="ADAL" clId="{2C600B91-A08B-4037-951E-633E44AFB517}" dt="2022-01-20T18:52:28.342" v="82" actId="478"/>
          <ac:spMkLst>
            <pc:docMk/>
            <pc:sldMk cId="1164617817" sldId="2387"/>
            <ac:spMk id="45" creationId="{FD8F0567-DB87-4FCD-A746-0A5BBC968C14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6" creationId="{482B39DF-20C8-4E3E-928A-A85AE58D154A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7" creationId="{BF850A5C-2D15-4C8B-8CD2-AE16E9C33ED8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8" creationId="{3874480D-70AD-4203-87CE-59B603C8995D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49" creationId="{BF41E1E2-DC4B-43A8-9619-0ADDE7123AE0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51" creationId="{1AFB3256-38BE-48A0-A5DB-C0728F9BE79A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52" creationId="{078C33F1-F202-4236-940C-6390EA1A6548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63" creationId="{990BCF7D-D38D-4A9B-8828-5EA7E695EE9E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70" creationId="{3A5B2C60-ED76-4E3A-9370-058740AA5191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71" creationId="{103490D5-E90F-4C01-A64A-E94B29FFB746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73" creationId="{E294554B-B8DF-4C1A-96FC-865313BC2A49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74" creationId="{9752FA73-0002-4977-B319-8378B50A4ED3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75" creationId="{62CDC028-6FCC-4543-B521-6C03147C5C0B}"/>
          </ac:spMkLst>
        </pc:spChg>
        <pc:spChg chg="mod">
          <ac:chgData name="Ciro Ignacio Atorrasagasti" userId="7cd334dc-3e87-4a2c-a876-1e7636282ec9" providerId="ADAL" clId="{2C600B91-A08B-4037-951E-633E44AFB517}" dt="2022-01-20T19:41:18.380" v="1483" actId="1035"/>
          <ac:spMkLst>
            <pc:docMk/>
            <pc:sldMk cId="1164617817" sldId="2387"/>
            <ac:spMk id="83" creationId="{291C7FF3-6E08-4860-A8FA-3012B6C3D582}"/>
          </ac:spMkLst>
        </pc:spChg>
        <pc:picChg chg="mod">
          <ac:chgData name="Ciro Ignacio Atorrasagasti" userId="7cd334dc-3e87-4a2c-a876-1e7636282ec9" providerId="ADAL" clId="{2C600B91-A08B-4037-951E-633E44AFB517}" dt="2022-01-20T19:41:18.380" v="1483" actId="1035"/>
          <ac:picMkLst>
            <pc:docMk/>
            <pc:sldMk cId="1164617817" sldId="2387"/>
            <ac:picMk id="50" creationId="{E1C4090C-6BFB-472F-81BF-CD3795C1DE70}"/>
          </ac:picMkLst>
        </pc:picChg>
        <pc:picChg chg="mod">
          <ac:chgData name="Ciro Ignacio Atorrasagasti" userId="7cd334dc-3e87-4a2c-a876-1e7636282ec9" providerId="ADAL" clId="{2C600B91-A08B-4037-951E-633E44AFB517}" dt="2022-01-20T19:41:18.380" v="1483" actId="1035"/>
          <ac:picMkLst>
            <pc:docMk/>
            <pc:sldMk cId="1164617817" sldId="2387"/>
            <ac:picMk id="78" creationId="{2CFA8184-4E25-48CF-B97F-7398E2EF1F93}"/>
          </ac:picMkLst>
        </pc:picChg>
        <pc:picChg chg="mod">
          <ac:chgData name="Ciro Ignacio Atorrasagasti" userId="7cd334dc-3e87-4a2c-a876-1e7636282ec9" providerId="ADAL" clId="{2C600B91-A08B-4037-951E-633E44AFB517}" dt="2022-01-20T19:41:18.380" v="1483" actId="1035"/>
          <ac:picMkLst>
            <pc:docMk/>
            <pc:sldMk cId="1164617817" sldId="2387"/>
            <ac:picMk id="85" creationId="{6AD1CC53-FAFD-41A4-9A5E-C1C373C75B85}"/>
          </ac:picMkLst>
        </pc:picChg>
      </pc:sldChg>
      <pc:sldChg chg="modSp mod">
        <pc:chgData name="Ciro Ignacio Atorrasagasti" userId="7cd334dc-3e87-4a2c-a876-1e7636282ec9" providerId="ADAL" clId="{2C600B91-A08B-4037-951E-633E44AFB517}" dt="2022-01-20T20:03:52.266" v="1702" actId="20577"/>
        <pc:sldMkLst>
          <pc:docMk/>
          <pc:sldMk cId="4060111158" sldId="2410"/>
        </pc:sldMkLst>
        <pc:spChg chg="mod">
          <ac:chgData name="Ciro Ignacio Atorrasagasti" userId="7cd334dc-3e87-4a2c-a876-1e7636282ec9" providerId="ADAL" clId="{2C600B91-A08B-4037-951E-633E44AFB517}" dt="2022-01-20T20:03:52.266" v="1702" actId="20577"/>
          <ac:spMkLst>
            <pc:docMk/>
            <pc:sldMk cId="4060111158" sldId="2410"/>
            <ac:spMk id="33" creationId="{56941277-5E8F-4F87-90D9-8A9E478D78D0}"/>
          </ac:spMkLst>
        </pc:spChg>
      </pc:sldChg>
    </pc:docChg>
  </pc:docChgLst>
  <pc:docChgLst>
    <pc:chgData name="Ana Isabel Silla Cortes" userId="S::asillaco@emeal.nttdata.com::b546b5c1-2aeb-468b-a361-4830835db4b0" providerId="AD" clId="Web-{67B6D55A-8547-41A7-BC42-D806A52142DF}"/>
    <pc:docChg chg="modSld">
      <pc:chgData name="Ana Isabel Silla Cortes" userId="S::asillaco@emeal.nttdata.com::b546b5c1-2aeb-468b-a361-4830835db4b0" providerId="AD" clId="Web-{67B6D55A-8547-41A7-BC42-D806A52142DF}" dt="2022-04-29T09:20:56.315" v="1" actId="1076"/>
      <pc:docMkLst>
        <pc:docMk/>
      </pc:docMkLst>
      <pc:sldChg chg="modSp">
        <pc:chgData name="Ana Isabel Silla Cortes" userId="S::asillaco@emeal.nttdata.com::b546b5c1-2aeb-468b-a361-4830835db4b0" providerId="AD" clId="Web-{67B6D55A-8547-41A7-BC42-D806A52142DF}" dt="2022-04-29T09:20:56.315" v="1" actId="1076"/>
        <pc:sldMkLst>
          <pc:docMk/>
          <pc:sldMk cId="2601384674" sldId="2420"/>
        </pc:sldMkLst>
        <pc:picChg chg="mod">
          <ac:chgData name="Ana Isabel Silla Cortes" userId="S::asillaco@emeal.nttdata.com::b546b5c1-2aeb-468b-a361-4830835db4b0" providerId="AD" clId="Web-{67B6D55A-8547-41A7-BC42-D806A52142DF}" dt="2022-04-29T09:20:56.315" v="1" actId="1076"/>
          <ac:picMkLst>
            <pc:docMk/>
            <pc:sldMk cId="2601384674" sldId="2420"/>
            <ac:picMk id="7" creationId="{71FD651D-50C7-E718-155E-4B4BDDC07A9C}"/>
          </ac:picMkLst>
        </pc:picChg>
        <pc:picChg chg="mod">
          <ac:chgData name="Ana Isabel Silla Cortes" userId="S::asillaco@emeal.nttdata.com::b546b5c1-2aeb-468b-a361-4830835db4b0" providerId="AD" clId="Web-{67B6D55A-8547-41A7-BC42-D806A52142DF}" dt="2022-04-29T09:20:54.253" v="0" actId="1076"/>
          <ac:picMkLst>
            <pc:docMk/>
            <pc:sldMk cId="2601384674" sldId="2420"/>
            <ac:picMk id="9" creationId="{AC8A000E-C467-B73A-211C-EA42513E36C9}"/>
          </ac:picMkLst>
        </pc:picChg>
      </pc:sldChg>
    </pc:docChg>
  </pc:docChgLst>
  <pc:docChgLst>
    <pc:chgData name="Miguel Baranda Robles" userId="S::mbaranda@emeal.nttdata.com::60c90789-d763-4e90-8083-146dd5f8a060" providerId="AD" clId="Web-{579EB247-C8EF-4651-8C01-692843E535F0}"/>
    <pc:docChg chg="modSld">
      <pc:chgData name="Miguel Baranda Robles" userId="S::mbaranda@emeal.nttdata.com::60c90789-d763-4e90-8083-146dd5f8a060" providerId="AD" clId="Web-{579EB247-C8EF-4651-8C01-692843E535F0}" dt="2022-01-24T19:30:09.338" v="227" actId="1076"/>
      <pc:docMkLst>
        <pc:docMk/>
      </pc:docMkLst>
      <pc:sldChg chg="addSp delSp modSp">
        <pc:chgData name="Miguel Baranda Robles" userId="S::mbaranda@emeal.nttdata.com::60c90789-d763-4e90-8083-146dd5f8a060" providerId="AD" clId="Web-{579EB247-C8EF-4651-8C01-692843E535F0}" dt="2022-01-24T19:29:36.681" v="223" actId="14100"/>
        <pc:sldMkLst>
          <pc:docMk/>
          <pc:sldMk cId="3697049122" sldId="2336"/>
        </pc:sldMkLst>
        <pc:spChg chg="add mod">
          <ac:chgData name="Miguel Baranda Robles" userId="S::mbaranda@emeal.nttdata.com::60c90789-d763-4e90-8083-146dd5f8a060" providerId="AD" clId="Web-{579EB247-C8EF-4651-8C01-692843E535F0}" dt="2022-01-24T19:29:36.681" v="223" actId="14100"/>
          <ac:spMkLst>
            <pc:docMk/>
            <pc:sldMk cId="3697049122" sldId="2336"/>
            <ac:spMk id="2" creationId="{31A83E76-DB4B-4A56-9D8D-AF08BED7B146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81" v="177"/>
          <ac:spMkLst>
            <pc:docMk/>
            <pc:sldMk cId="3697049122" sldId="2336"/>
            <ac:spMk id="50" creationId="{2E846C44-14CC-4C27-8FD9-9BCAFF0EDB97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0.732" v="5" actId="1076"/>
          <ac:spMkLst>
            <pc:docMk/>
            <pc:sldMk cId="3697049122" sldId="2336"/>
            <ac:spMk id="52" creationId="{5C88B848-06B2-46F2-ADA1-F2CA82992A3B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1.091" v="6" actId="1076"/>
          <ac:spMkLst>
            <pc:docMk/>
            <pc:sldMk cId="3697049122" sldId="2336"/>
            <ac:spMk id="53" creationId="{FA5DC6CD-F76C-48FE-A070-EDF0D96D5BB1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1.419" v="8" actId="1076"/>
          <ac:spMkLst>
            <pc:docMk/>
            <pc:sldMk cId="3697049122" sldId="2336"/>
            <ac:spMk id="55" creationId="{F4C5C4FB-8915-4C86-BB6C-74CD63C5E8BF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1.576" v="9" actId="1076"/>
          <ac:spMkLst>
            <pc:docMk/>
            <pc:sldMk cId="3697049122" sldId="2336"/>
            <ac:spMk id="56" creationId="{FDC93E07-F76D-4314-8E2F-24D65228286D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1.732" v="10" actId="1076"/>
          <ac:spMkLst>
            <pc:docMk/>
            <pc:sldMk cId="3697049122" sldId="2336"/>
            <ac:spMk id="57" creationId="{0048FEE0-E2DE-43BB-9405-5BB22B9C80C2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1.888" v="11" actId="1076"/>
          <ac:spMkLst>
            <pc:docMk/>
            <pc:sldMk cId="3697049122" sldId="2336"/>
            <ac:spMk id="58" creationId="{07C031A9-A125-40F5-98D1-6B2C3403CF0E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2.044" v="12" actId="1076"/>
          <ac:spMkLst>
            <pc:docMk/>
            <pc:sldMk cId="3697049122" sldId="2336"/>
            <ac:spMk id="59" creationId="{C33A8C52-F2D1-4411-8660-E6DD2A031297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2.201" v="13" actId="1076"/>
          <ac:spMkLst>
            <pc:docMk/>
            <pc:sldMk cId="3697049122" sldId="2336"/>
            <ac:spMk id="60" creationId="{38B1BD52-6BF7-44C3-9938-9BD1D7BFB2E8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2.357" v="14" actId="1076"/>
          <ac:spMkLst>
            <pc:docMk/>
            <pc:sldMk cId="3697049122" sldId="2336"/>
            <ac:spMk id="61" creationId="{E4232915-D6D5-47F1-913A-E2926C13C0E5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1:42.294" v="1" actId="20577"/>
          <ac:spMkLst>
            <pc:docMk/>
            <pc:sldMk cId="3697049122" sldId="2336"/>
            <ac:spMk id="63" creationId="{36A1A27A-AD2A-4FD2-83E8-CCDBC8DCDAFB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1:46.169" v="3" actId="20577"/>
          <ac:spMkLst>
            <pc:docMk/>
            <pc:sldMk cId="3697049122" sldId="2336"/>
            <ac:spMk id="65" creationId="{B63488C3-622A-41AB-BF10-3A0DDEFF22DE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81" v="178"/>
          <ac:spMkLst>
            <pc:docMk/>
            <pc:sldMk cId="3697049122" sldId="2336"/>
            <ac:spMk id="76" creationId="{094FB89D-0D6C-4EAD-8CC8-2EF20AE8B5AE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81" v="179"/>
          <ac:spMkLst>
            <pc:docMk/>
            <pc:sldMk cId="3697049122" sldId="2336"/>
            <ac:spMk id="77" creationId="{61A1B17B-EC1F-416B-8325-E0986DB82215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81" v="180"/>
          <ac:spMkLst>
            <pc:docMk/>
            <pc:sldMk cId="3697049122" sldId="2336"/>
            <ac:spMk id="78" creationId="{C47669AD-462F-4675-8339-686D8ABFCB91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81" v="181"/>
          <ac:spMkLst>
            <pc:docMk/>
            <pc:sldMk cId="3697049122" sldId="2336"/>
            <ac:spMk id="79" creationId="{D5A0BC42-4F67-4518-80BF-DE7DB9D2B600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81" v="182"/>
          <ac:spMkLst>
            <pc:docMk/>
            <pc:sldMk cId="3697049122" sldId="2336"/>
            <ac:spMk id="80" creationId="{69C1612A-76A6-4853-8035-0FFFF749FB64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81" v="183"/>
          <ac:spMkLst>
            <pc:docMk/>
            <pc:sldMk cId="3697049122" sldId="2336"/>
            <ac:spMk id="81" creationId="{F577155B-3842-44FD-942A-C35E1BE6869C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81" v="184"/>
          <ac:spMkLst>
            <pc:docMk/>
            <pc:sldMk cId="3697049122" sldId="2336"/>
            <ac:spMk id="82" creationId="{0691EE9C-E13C-4AEB-AA25-49A1CF477327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96" v="185"/>
          <ac:spMkLst>
            <pc:docMk/>
            <pc:sldMk cId="3697049122" sldId="2336"/>
            <ac:spMk id="83" creationId="{1D9F23E2-3E48-4A8D-A187-495320DEFEFD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96" v="186"/>
          <ac:spMkLst>
            <pc:docMk/>
            <pc:sldMk cId="3697049122" sldId="2336"/>
            <ac:spMk id="84" creationId="{B0C3E5C3-FD39-438D-9C15-FF3F2374BA8B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8:07.396" v="187"/>
          <ac:spMkLst>
            <pc:docMk/>
            <pc:sldMk cId="3697049122" sldId="2336"/>
            <ac:spMk id="85" creationId="{B211E190-E89F-4F11-B771-06DF2F90D279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4.263" v="26" actId="1076"/>
          <ac:spMkLst>
            <pc:docMk/>
            <pc:sldMk cId="3697049122" sldId="2336"/>
            <ac:spMk id="86" creationId="{6F349042-C541-4D78-BDB6-D203D2BFD9EE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02:14.435" v="27" actId="1076"/>
          <ac:spMkLst>
            <pc:docMk/>
            <pc:sldMk cId="3697049122" sldId="2336"/>
            <ac:spMk id="87" creationId="{12EE45C6-F91E-4F6D-8CEC-33E415E3E90D}"/>
          </ac:spMkLst>
        </pc:spChg>
        <pc:grpChg chg="mod">
          <ac:chgData name="Miguel Baranda Robles" userId="S::mbaranda@emeal.nttdata.com::60c90789-d763-4e90-8083-146dd5f8a060" providerId="AD" clId="Web-{579EB247-C8EF-4651-8C01-692843E535F0}" dt="2022-01-24T19:02:14.935" v="28" actId="1076"/>
          <ac:grpSpMkLst>
            <pc:docMk/>
            <pc:sldMk cId="3697049122" sldId="2336"/>
            <ac:grpSpMk id="62" creationId="{E2ECE8FF-4DD2-423C-B43D-5BE87E707419}"/>
          </ac:grpSpMkLst>
        </pc:grpChg>
        <pc:picChg chg="mod">
          <ac:chgData name="Miguel Baranda Robles" userId="S::mbaranda@emeal.nttdata.com::60c90789-d763-4e90-8083-146dd5f8a060" providerId="AD" clId="Web-{579EB247-C8EF-4651-8C01-692843E535F0}" dt="2022-01-24T19:02:12.513" v="15" actId="1076"/>
          <ac:picMkLst>
            <pc:docMk/>
            <pc:sldMk cId="3697049122" sldId="2336"/>
            <ac:picMk id="75" creationId="{5463D786-7DF2-40DC-A53F-56279800AD60}"/>
          </ac:picMkLst>
        </pc:picChg>
        <pc:cxnChg chg="mod">
          <ac:chgData name="Miguel Baranda Robles" userId="S::mbaranda@emeal.nttdata.com::60c90789-d763-4e90-8083-146dd5f8a060" providerId="AD" clId="Web-{579EB247-C8EF-4651-8C01-692843E535F0}" dt="2022-01-24T19:02:11.232" v="7" actId="1076"/>
          <ac:cxnSpMkLst>
            <pc:docMk/>
            <pc:sldMk cId="3697049122" sldId="2336"/>
            <ac:cxnSpMk id="54" creationId="{C2984846-2A78-46F3-9F9C-17694DF52B03}"/>
          </ac:cxnSpMkLst>
        </pc:cxnChg>
      </pc:sldChg>
      <pc:sldChg chg="addSp delSp modSp">
        <pc:chgData name="Miguel Baranda Robles" userId="S::mbaranda@emeal.nttdata.com::60c90789-d763-4e90-8083-146dd5f8a060" providerId="AD" clId="Web-{579EB247-C8EF-4651-8C01-692843E535F0}" dt="2022-01-24T19:30:09.338" v="227" actId="1076"/>
        <pc:sldMkLst>
          <pc:docMk/>
          <pc:sldMk cId="198338277" sldId="2355"/>
        </pc:sldMkLst>
        <pc:spChg chg="add del">
          <ac:chgData name="Miguel Baranda Robles" userId="S::mbaranda@emeal.nttdata.com::60c90789-d763-4e90-8083-146dd5f8a060" providerId="AD" clId="Web-{579EB247-C8EF-4651-8C01-692843E535F0}" dt="2022-01-24T19:25:37.172" v="81"/>
          <ac:spMkLst>
            <pc:docMk/>
            <pc:sldMk cId="198338277" sldId="2355"/>
            <ac:spMk id="2" creationId="{A6FF7C3A-6D4C-47E8-9B22-99337515221C}"/>
          </ac:spMkLst>
        </pc:spChg>
        <pc:spChg chg="add del mod">
          <ac:chgData name="Miguel Baranda Robles" userId="S::mbaranda@emeal.nttdata.com::60c90789-d763-4e90-8083-146dd5f8a060" providerId="AD" clId="Web-{579EB247-C8EF-4651-8C01-692843E535F0}" dt="2022-01-24T19:29:54.150" v="224"/>
          <ac:spMkLst>
            <pc:docMk/>
            <pc:sldMk cId="198338277" sldId="2355"/>
            <ac:spMk id="4" creationId="{BD63C19D-F36E-4A0B-9076-2CD60B901EA7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30:09.338" v="227" actId="1076"/>
          <ac:spMkLst>
            <pc:docMk/>
            <pc:sldMk cId="198338277" sldId="2355"/>
            <ac:spMk id="5" creationId="{A41EAB6E-7D08-4875-B99F-9396CD180F84}"/>
          </ac:spMkLst>
        </pc:spChg>
        <pc:spChg chg="add">
          <ac:chgData name="Miguel Baranda Robles" userId="S::mbaranda@emeal.nttdata.com::60c90789-d763-4e90-8083-146dd5f8a060" providerId="AD" clId="Web-{579EB247-C8EF-4651-8C01-692843E535F0}" dt="2022-01-24T19:30:01.166" v="225"/>
          <ac:spMkLst>
            <pc:docMk/>
            <pc:sldMk cId="198338277" sldId="2355"/>
            <ac:spMk id="6" creationId="{2FE7B229-57CF-409E-B25E-3333187B0230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7.002" v="134" actId="1076"/>
          <ac:spMkLst>
            <pc:docMk/>
            <pc:sldMk cId="198338277" sldId="2355"/>
            <ac:spMk id="121" creationId="{35078738-31D3-4F42-8060-8C3FCA55A7A7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7.143" v="135" actId="1076"/>
          <ac:spMkLst>
            <pc:docMk/>
            <pc:sldMk cId="198338277" sldId="2355"/>
            <ac:spMk id="122" creationId="{6C7DD61E-637B-4D66-B38C-83758379255A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7.283" v="136" actId="1076"/>
          <ac:spMkLst>
            <pc:docMk/>
            <pc:sldMk cId="198338277" sldId="2355"/>
            <ac:spMk id="123" creationId="{519A5727-44DE-4E3D-8618-15F7EFC9DC06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7.565" v="138" actId="1076"/>
          <ac:spMkLst>
            <pc:docMk/>
            <pc:sldMk cId="198338277" sldId="2355"/>
            <ac:spMk id="125" creationId="{DD695656-A9DE-45BC-A65E-0C53C0CC8ED3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7.690" v="139" actId="1076"/>
          <ac:spMkLst>
            <pc:docMk/>
            <pc:sldMk cId="198338277" sldId="2355"/>
            <ac:spMk id="126" creationId="{5F448380-3868-4354-A020-6EB200DFBE5B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7.830" v="140" actId="1076"/>
          <ac:spMkLst>
            <pc:docMk/>
            <pc:sldMk cId="198338277" sldId="2355"/>
            <ac:spMk id="127" creationId="{645A1D2C-E662-4B3C-A115-4F7445E6CD15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7.971" v="141" actId="1076"/>
          <ac:spMkLst>
            <pc:docMk/>
            <pc:sldMk cId="198338277" sldId="2355"/>
            <ac:spMk id="128" creationId="{E9CA6432-83B7-47C8-A726-00CF915C2A5F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8.096" v="142" actId="1076"/>
          <ac:spMkLst>
            <pc:docMk/>
            <pc:sldMk cId="198338277" sldId="2355"/>
            <ac:spMk id="129" creationId="{DF8990B0-A5EA-4C97-B529-32CC3947AF37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8.236" v="143" actId="1076"/>
          <ac:spMkLst>
            <pc:docMk/>
            <pc:sldMk cId="198338277" sldId="2355"/>
            <ac:spMk id="130" creationId="{A4AD339C-7138-4E85-BB6D-1289B51FB95D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8.377" v="144" actId="1076"/>
          <ac:spMkLst>
            <pc:docMk/>
            <pc:sldMk cId="198338277" sldId="2355"/>
            <ac:spMk id="131" creationId="{B49B62A1-CFE7-4977-8D0B-E29908F65F79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8:06.568" v="165" actId="20577"/>
          <ac:spMkLst>
            <pc:docMk/>
            <pc:sldMk cId="198338277" sldId="2355"/>
            <ac:spMk id="134" creationId="{5278214E-0B79-44F7-ADE2-304DCA38830F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8.971" v="147" actId="1076"/>
          <ac:spMkLst>
            <pc:docMk/>
            <pc:sldMk cId="198338277" sldId="2355"/>
            <ac:spMk id="144" creationId="{4F3483AE-D49C-4C1F-A09C-6E4257D9A158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9.112" v="148" actId="1076"/>
          <ac:spMkLst>
            <pc:docMk/>
            <pc:sldMk cId="198338277" sldId="2355"/>
            <ac:spMk id="145" creationId="{251C1A0C-37E8-4DB7-9995-65458D26FFD6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9.252" v="149" actId="1076"/>
          <ac:spMkLst>
            <pc:docMk/>
            <pc:sldMk cId="198338277" sldId="2355"/>
            <ac:spMk id="146" creationId="{D4DB3544-0DD6-4CBF-93FB-F174C00A3F3D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9.393" v="150" actId="1076"/>
          <ac:spMkLst>
            <pc:docMk/>
            <pc:sldMk cId="198338277" sldId="2355"/>
            <ac:spMk id="147" creationId="{0C832276-CB16-4BE4-B7C9-895EAF8520FA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9.549" v="151" actId="1076"/>
          <ac:spMkLst>
            <pc:docMk/>
            <pc:sldMk cId="198338277" sldId="2355"/>
            <ac:spMk id="148" creationId="{B4E4BC4D-730A-49EE-BB49-FE762FF7899F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9.690" v="152" actId="1076"/>
          <ac:spMkLst>
            <pc:docMk/>
            <pc:sldMk cId="198338277" sldId="2355"/>
            <ac:spMk id="149" creationId="{634C0767-686C-4DBD-AA57-BE2B0EC69B11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9.830" v="153" actId="1076"/>
          <ac:spMkLst>
            <pc:docMk/>
            <pc:sldMk cId="198338277" sldId="2355"/>
            <ac:spMk id="150" creationId="{06121058-A09F-44A5-AEDB-A31D24CFA122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29.971" v="154" actId="1076"/>
          <ac:spMkLst>
            <pc:docMk/>
            <pc:sldMk cId="198338277" sldId="2355"/>
            <ac:spMk id="151" creationId="{7E528178-FB89-43DB-A227-69FAC9758466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30.127" v="155" actId="1076"/>
          <ac:spMkLst>
            <pc:docMk/>
            <pc:sldMk cId="198338277" sldId="2355"/>
            <ac:spMk id="152" creationId="{E01F80C2-0156-449B-81CC-CCFC9816759D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30.283" v="156" actId="1076"/>
          <ac:spMkLst>
            <pc:docMk/>
            <pc:sldMk cId="198338277" sldId="2355"/>
            <ac:spMk id="153" creationId="{CAC1746C-004B-45AD-8ABA-9186B953CD39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30.424" v="157" actId="1076"/>
          <ac:spMkLst>
            <pc:docMk/>
            <pc:sldMk cId="198338277" sldId="2355"/>
            <ac:spMk id="154" creationId="{5B63E3D1-151A-4333-AA26-FC5AB7A2B42F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30.549" v="158" actId="1076"/>
          <ac:spMkLst>
            <pc:docMk/>
            <pc:sldMk cId="198338277" sldId="2355"/>
            <ac:spMk id="155" creationId="{F5BF9CE5-F599-461D-891F-22C2CB966C9A}"/>
          </ac:spMkLst>
        </pc:spChg>
        <pc:spChg chg="mod">
          <ac:chgData name="Miguel Baranda Robles" userId="S::mbaranda@emeal.nttdata.com::60c90789-d763-4e90-8083-146dd5f8a060" providerId="AD" clId="Web-{579EB247-C8EF-4651-8C01-692843E535F0}" dt="2022-01-24T19:26:30.752" v="159" actId="1076"/>
          <ac:spMkLst>
            <pc:docMk/>
            <pc:sldMk cId="198338277" sldId="2355"/>
            <ac:spMk id="156" creationId="{BAB69E6E-5E9D-416C-9079-D2B1D1E402A8}"/>
          </ac:spMkLst>
        </pc:spChg>
        <pc:grpChg chg="mod">
          <ac:chgData name="Miguel Baranda Robles" userId="S::mbaranda@emeal.nttdata.com::60c90789-d763-4e90-8083-146dd5f8a060" providerId="AD" clId="Web-{579EB247-C8EF-4651-8C01-692843E535F0}" dt="2022-01-24T19:26:28.705" v="145" actId="1076"/>
          <ac:grpSpMkLst>
            <pc:docMk/>
            <pc:sldMk cId="198338277" sldId="2355"/>
            <ac:grpSpMk id="132" creationId="{5BC6446D-6A70-4122-91C8-5637A5C3EB61}"/>
          </ac:grpSpMkLst>
        </pc:grpChg>
        <pc:picChg chg="mod">
          <ac:chgData name="Miguel Baranda Robles" userId="S::mbaranda@emeal.nttdata.com::60c90789-d763-4e90-8083-146dd5f8a060" providerId="AD" clId="Web-{579EB247-C8EF-4651-8C01-692843E535F0}" dt="2022-01-24T19:26:28.830" v="146" actId="1076"/>
          <ac:picMkLst>
            <pc:docMk/>
            <pc:sldMk cId="198338277" sldId="2355"/>
            <ac:picMk id="143" creationId="{89310C7F-EF48-4D2C-AEFA-9709772BA941}"/>
          </ac:picMkLst>
        </pc:picChg>
        <pc:cxnChg chg="mod">
          <ac:chgData name="Miguel Baranda Robles" userId="S::mbaranda@emeal.nttdata.com::60c90789-d763-4e90-8083-146dd5f8a060" providerId="AD" clId="Web-{579EB247-C8EF-4651-8C01-692843E535F0}" dt="2022-01-24T19:26:27.408" v="137" actId="1076"/>
          <ac:cxnSpMkLst>
            <pc:docMk/>
            <pc:sldMk cId="198338277" sldId="2355"/>
            <ac:cxnSpMk id="124" creationId="{63427060-8464-4C0F-8AE2-488B18B48E2A}"/>
          </ac:cxnSpMkLst>
        </pc:cxnChg>
      </pc:sldChg>
    </pc:docChg>
  </pc:docChgLst>
  <pc:docChgLst>
    <pc:chgData name="David Pastor Puyuelo" userId="S::dpastopu@emeal.nttdata.com::4ba541ea-9651-41d4-862c-06544bb5ec7b" providerId="AD" clId="Web-{F6F64D6C-AC57-A497-DDCD-00E6F947AE99}"/>
    <pc:docChg chg="modSld">
      <pc:chgData name="David Pastor Puyuelo" userId="S::dpastopu@emeal.nttdata.com::4ba541ea-9651-41d4-862c-06544bb5ec7b" providerId="AD" clId="Web-{F6F64D6C-AC57-A497-DDCD-00E6F947AE99}" dt="2022-05-04T07:24:58.906" v="66" actId="20577"/>
      <pc:docMkLst>
        <pc:docMk/>
      </pc:docMkLst>
      <pc:sldChg chg="modSp">
        <pc:chgData name="David Pastor Puyuelo" userId="S::dpastopu@emeal.nttdata.com::4ba541ea-9651-41d4-862c-06544bb5ec7b" providerId="AD" clId="Web-{F6F64D6C-AC57-A497-DDCD-00E6F947AE99}" dt="2022-05-04T07:24:58.906" v="66" actId="20577"/>
        <pc:sldMkLst>
          <pc:docMk/>
          <pc:sldMk cId="4081478343" sldId="2485"/>
        </pc:sldMkLst>
        <pc:spChg chg="mod">
          <ac:chgData name="David Pastor Puyuelo" userId="S::dpastopu@emeal.nttdata.com::4ba541ea-9651-41d4-862c-06544bb5ec7b" providerId="AD" clId="Web-{F6F64D6C-AC57-A497-DDCD-00E6F947AE99}" dt="2022-05-04T07:24:40.280" v="58" actId="14100"/>
          <ac:spMkLst>
            <pc:docMk/>
            <pc:sldMk cId="4081478343" sldId="2485"/>
            <ac:spMk id="9" creationId="{57C9C3BC-91FB-AB14-03A2-4C5C283969A1}"/>
          </ac:spMkLst>
        </pc:spChg>
        <pc:spChg chg="mod">
          <ac:chgData name="David Pastor Puyuelo" userId="S::dpastopu@emeal.nttdata.com::4ba541ea-9651-41d4-862c-06544bb5ec7b" providerId="AD" clId="Web-{F6F64D6C-AC57-A497-DDCD-00E6F947AE99}" dt="2022-05-04T07:24:58.906" v="66" actId="20577"/>
          <ac:spMkLst>
            <pc:docMk/>
            <pc:sldMk cId="4081478343" sldId="2485"/>
            <ac:spMk id="13" creationId="{C5E68934-E4A5-D9DB-A35F-7CD0BE47B0CE}"/>
          </ac:spMkLst>
        </pc:spChg>
        <pc:spChg chg="mod">
          <ac:chgData name="David Pastor Puyuelo" userId="S::dpastopu@emeal.nttdata.com::4ba541ea-9651-41d4-862c-06544bb5ec7b" providerId="AD" clId="Web-{F6F64D6C-AC57-A497-DDCD-00E6F947AE99}" dt="2022-05-04T07:24:19.373" v="52" actId="20577"/>
          <ac:spMkLst>
            <pc:docMk/>
            <pc:sldMk cId="4081478343" sldId="2485"/>
            <ac:spMk id="14" creationId="{90E7633B-C081-8F97-DC35-8CEAF8939854}"/>
          </ac:spMkLst>
        </pc:spChg>
        <pc:picChg chg="mod">
          <ac:chgData name="David Pastor Puyuelo" userId="S::dpastopu@emeal.nttdata.com::4ba541ea-9651-41d4-862c-06544bb5ec7b" providerId="AD" clId="Web-{F6F64D6C-AC57-A497-DDCD-00E6F947AE99}" dt="2022-05-04T07:24:21.467" v="53" actId="1076"/>
          <ac:picMkLst>
            <pc:docMk/>
            <pc:sldMk cId="4081478343" sldId="2485"/>
            <ac:picMk id="2" creationId="{2387F979-2819-2DCD-D5E1-1060857B8A60}"/>
          </ac:picMkLst>
        </pc:picChg>
        <pc:picChg chg="mod">
          <ac:chgData name="David Pastor Puyuelo" userId="S::dpastopu@emeal.nttdata.com::4ba541ea-9651-41d4-862c-06544bb5ec7b" providerId="AD" clId="Web-{F6F64D6C-AC57-A497-DDCD-00E6F947AE99}" dt="2022-05-04T07:24:22.889" v="54" actId="1076"/>
          <ac:picMkLst>
            <pc:docMk/>
            <pc:sldMk cId="4081478343" sldId="2485"/>
            <ac:picMk id="7" creationId="{BEB67186-ED1B-DFC1-819D-4526AA78F2C8}"/>
          </ac:picMkLst>
        </pc:picChg>
      </pc:sldChg>
    </pc:docChg>
  </pc:docChgLst>
  <pc:docChgLst>
    <pc:chgData name="Ana Isabel Silla Cortes" userId="S::asillaco@emeal.nttdata.com::b546b5c1-2aeb-468b-a361-4830835db4b0" providerId="AD" clId="Web-{0959733A-3604-4C63-B50A-906892277998}"/>
    <pc:docChg chg="addSld delSld modSld sldOrd modSection">
      <pc:chgData name="Ana Isabel Silla Cortes" userId="S::asillaco@emeal.nttdata.com::b546b5c1-2aeb-468b-a361-4830835db4b0" providerId="AD" clId="Web-{0959733A-3604-4C63-B50A-906892277998}" dt="2022-04-29T11:15:56.204" v="146"/>
      <pc:docMkLst>
        <pc:docMk/>
      </pc:docMkLst>
      <pc:sldChg chg="modSp">
        <pc:chgData name="Ana Isabel Silla Cortes" userId="S::asillaco@emeal.nttdata.com::b546b5c1-2aeb-468b-a361-4830835db4b0" providerId="AD" clId="Web-{0959733A-3604-4C63-B50A-906892277998}" dt="2022-04-29T10:54:08.732" v="10" actId="20577"/>
        <pc:sldMkLst>
          <pc:docMk/>
          <pc:sldMk cId="981156525" sldId="2418"/>
        </pc:sldMkLst>
        <pc:spChg chg="mod">
          <ac:chgData name="Ana Isabel Silla Cortes" userId="S::asillaco@emeal.nttdata.com::b546b5c1-2aeb-468b-a361-4830835db4b0" providerId="AD" clId="Web-{0959733A-3604-4C63-B50A-906892277998}" dt="2022-04-29T10:54:08.732" v="10" actId="20577"/>
          <ac:spMkLst>
            <pc:docMk/>
            <pc:sldMk cId="981156525" sldId="2418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0959733A-3604-4C63-B50A-906892277998}" dt="2022-04-29T10:53:30.919" v="8" actId="20577"/>
        <pc:sldMkLst>
          <pc:docMk/>
          <pc:sldMk cId="1038101899" sldId="2428"/>
        </pc:sldMkLst>
        <pc:spChg chg="mod">
          <ac:chgData name="Ana Isabel Silla Cortes" userId="S::asillaco@emeal.nttdata.com::b546b5c1-2aeb-468b-a361-4830835db4b0" providerId="AD" clId="Web-{0959733A-3604-4C63-B50A-906892277998}" dt="2022-04-29T10:53:30.919" v="8" actId="20577"/>
          <ac:spMkLst>
            <pc:docMk/>
            <pc:sldMk cId="1038101899" sldId="2428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0959733A-3604-4C63-B50A-906892277998}" dt="2022-04-29T10:53:36.747" v="9" actId="20577"/>
        <pc:sldMkLst>
          <pc:docMk/>
          <pc:sldMk cId="2002864901" sldId="2429"/>
        </pc:sldMkLst>
        <pc:spChg chg="mod">
          <ac:chgData name="Ana Isabel Silla Cortes" userId="S::asillaco@emeal.nttdata.com::b546b5c1-2aeb-468b-a361-4830835db4b0" providerId="AD" clId="Web-{0959733A-3604-4C63-B50A-906892277998}" dt="2022-04-29T10:53:36.747" v="9" actId="20577"/>
          <ac:spMkLst>
            <pc:docMk/>
            <pc:sldMk cId="2002864901" sldId="2429"/>
            <ac:spMk id="28" creationId="{DD453CE2-6FED-4720-8043-DBD1D2185AE1}"/>
          </ac:spMkLst>
        </pc:spChg>
      </pc:sldChg>
      <pc:sldChg chg="addSp delSp modSp">
        <pc:chgData name="Ana Isabel Silla Cortes" userId="S::asillaco@emeal.nttdata.com::b546b5c1-2aeb-468b-a361-4830835db4b0" providerId="AD" clId="Web-{0959733A-3604-4C63-B50A-906892277998}" dt="2022-04-29T11:13:07.043" v="111" actId="20577"/>
        <pc:sldMkLst>
          <pc:docMk/>
          <pc:sldMk cId="2236573937" sldId="2438"/>
        </pc:sldMkLst>
        <pc:spChg chg="mod">
          <ac:chgData name="Ana Isabel Silla Cortes" userId="S::asillaco@emeal.nttdata.com::b546b5c1-2aeb-468b-a361-4830835db4b0" providerId="AD" clId="Web-{0959733A-3604-4C63-B50A-906892277998}" dt="2022-04-29T11:13:07.043" v="111" actId="20577"/>
          <ac:spMkLst>
            <pc:docMk/>
            <pc:sldMk cId="2236573937" sldId="2438"/>
            <ac:spMk id="2" creationId="{6F845D07-8496-66AF-C9F7-3EBA8F74B913}"/>
          </ac:spMkLst>
        </pc:spChg>
        <pc:picChg chg="add del mod">
          <ac:chgData name="Ana Isabel Silla Cortes" userId="S::asillaco@emeal.nttdata.com::b546b5c1-2aeb-468b-a361-4830835db4b0" providerId="AD" clId="Web-{0959733A-3604-4C63-B50A-906892277998}" dt="2022-04-29T11:10:35.305" v="12"/>
          <ac:picMkLst>
            <pc:docMk/>
            <pc:sldMk cId="2236573937" sldId="2438"/>
            <ac:picMk id="4" creationId="{607BB369-C928-EC84-930B-1661D10F322E}"/>
          </ac:picMkLst>
        </pc:picChg>
        <pc:picChg chg="add mod">
          <ac:chgData name="Ana Isabel Silla Cortes" userId="S::asillaco@emeal.nttdata.com::b546b5c1-2aeb-468b-a361-4830835db4b0" providerId="AD" clId="Web-{0959733A-3604-4C63-B50A-906892277998}" dt="2022-04-29T11:11:38.306" v="22" actId="1076"/>
          <ac:picMkLst>
            <pc:docMk/>
            <pc:sldMk cId="2236573937" sldId="2438"/>
            <ac:picMk id="6" creationId="{66111688-9F28-D897-E046-34FD0A2DF87B}"/>
          </ac:picMkLst>
        </pc:picChg>
        <pc:picChg chg="add mod">
          <ac:chgData name="Ana Isabel Silla Cortes" userId="S::asillaco@emeal.nttdata.com::b546b5c1-2aeb-468b-a361-4830835db4b0" providerId="AD" clId="Web-{0959733A-3604-4C63-B50A-906892277998}" dt="2022-04-29T11:11:36.181" v="21" actId="1076"/>
          <ac:picMkLst>
            <pc:docMk/>
            <pc:sldMk cId="2236573937" sldId="2438"/>
            <ac:picMk id="7" creationId="{9476FD7B-534A-8066-88A4-D4F9DCE14084}"/>
          </ac:picMkLst>
        </pc:picChg>
        <pc:picChg chg="add del">
          <ac:chgData name="Ana Isabel Silla Cortes" userId="S::asillaco@emeal.nttdata.com::b546b5c1-2aeb-468b-a361-4830835db4b0" providerId="AD" clId="Web-{0959733A-3604-4C63-B50A-906892277998}" dt="2022-04-29T11:11:45.697" v="24"/>
          <ac:picMkLst>
            <pc:docMk/>
            <pc:sldMk cId="2236573937" sldId="2438"/>
            <ac:picMk id="9" creationId="{C3404580-0F73-5E7D-4732-80A9F0B1694F}"/>
          </ac:picMkLst>
        </pc:picChg>
      </pc:sldChg>
      <pc:sldChg chg="addSp delSp modSp new del">
        <pc:chgData name="Ana Isabel Silla Cortes" userId="S::asillaco@emeal.nttdata.com::b546b5c1-2aeb-468b-a361-4830835db4b0" providerId="AD" clId="Web-{0959733A-3604-4C63-B50A-906892277998}" dt="2022-04-29T11:13:10.621" v="112"/>
        <pc:sldMkLst>
          <pc:docMk/>
          <pc:sldMk cId="1497800304" sldId="2440"/>
        </pc:sldMkLst>
        <pc:spChg chg="del">
          <ac:chgData name="Ana Isabel Silla Cortes" userId="S::asillaco@emeal.nttdata.com::b546b5c1-2aeb-468b-a361-4830835db4b0" providerId="AD" clId="Web-{0959733A-3604-4C63-B50A-906892277998}" dt="2022-04-29T11:10:44.242" v="14"/>
          <ac:spMkLst>
            <pc:docMk/>
            <pc:sldMk cId="1497800304" sldId="2440"/>
            <ac:spMk id="3" creationId="{036A0510-BB66-334F-579B-384C22AEEE03}"/>
          </ac:spMkLst>
        </pc:spChg>
        <pc:picChg chg="add mod ord">
          <ac:chgData name="Ana Isabel Silla Cortes" userId="S::asillaco@emeal.nttdata.com::b546b5c1-2aeb-468b-a361-4830835db4b0" providerId="AD" clId="Web-{0959733A-3604-4C63-B50A-906892277998}" dt="2022-04-29T11:10:44.242" v="14"/>
          <ac:picMkLst>
            <pc:docMk/>
            <pc:sldMk cId="1497800304" sldId="2440"/>
            <ac:picMk id="5" creationId="{2BC24628-54F0-414D-2B32-2D38EA32E531}"/>
          </ac:picMkLst>
        </pc:picChg>
        <pc:picChg chg="add">
          <ac:chgData name="Ana Isabel Silla Cortes" userId="S::asillaco@emeal.nttdata.com::b546b5c1-2aeb-468b-a361-4830835db4b0" providerId="AD" clId="Web-{0959733A-3604-4C63-B50A-906892277998}" dt="2022-04-29T11:11:21.400" v="18"/>
          <ac:picMkLst>
            <pc:docMk/>
            <pc:sldMk cId="1497800304" sldId="2440"/>
            <ac:picMk id="7" creationId="{D7C029B1-36C7-9216-425B-5B4EDA09AB51}"/>
          </ac:picMkLst>
        </pc:picChg>
        <pc:picChg chg="add mod">
          <ac:chgData name="Ana Isabel Silla Cortes" userId="S::asillaco@emeal.nttdata.com::b546b5c1-2aeb-468b-a361-4830835db4b0" providerId="AD" clId="Web-{0959733A-3604-4C63-B50A-906892277998}" dt="2022-04-29T11:11:27.822" v="19"/>
          <ac:picMkLst>
            <pc:docMk/>
            <pc:sldMk cId="1497800304" sldId="2440"/>
            <ac:picMk id="8" creationId="{B7AE7F5A-C1F5-EA7F-3078-2196F960FF8B}"/>
          </ac:picMkLst>
        </pc:picChg>
      </pc:sldChg>
      <pc:sldChg chg="addSp delSp modSp add ord replId">
        <pc:chgData name="Ana Isabel Silla Cortes" userId="S::asillaco@emeal.nttdata.com::b546b5c1-2aeb-468b-a361-4830835db4b0" providerId="AD" clId="Web-{0959733A-3604-4C63-B50A-906892277998}" dt="2022-04-29T11:15:52.344" v="145" actId="14100"/>
        <pc:sldMkLst>
          <pc:docMk/>
          <pc:sldMk cId="4205427111" sldId="2440"/>
        </pc:sldMkLst>
        <pc:spChg chg="mod">
          <ac:chgData name="Ana Isabel Silla Cortes" userId="S::asillaco@emeal.nttdata.com::b546b5c1-2aeb-468b-a361-4830835db4b0" providerId="AD" clId="Web-{0959733A-3604-4C63-B50A-906892277998}" dt="2022-04-29T11:15:52.344" v="145" actId="14100"/>
          <ac:spMkLst>
            <pc:docMk/>
            <pc:sldMk cId="4205427111" sldId="2440"/>
            <ac:spMk id="12" creationId="{D9E25197-1741-DF0C-D5F5-C81EE0C7CBE8}"/>
          </ac:spMkLst>
        </pc:spChg>
        <pc:spChg chg="mod">
          <ac:chgData name="Ana Isabel Silla Cortes" userId="S::asillaco@emeal.nttdata.com::b546b5c1-2aeb-468b-a361-4830835db4b0" providerId="AD" clId="Web-{0959733A-3604-4C63-B50A-906892277998}" dt="2022-04-29T11:13:50.794" v="116" actId="20577"/>
          <ac:spMkLst>
            <pc:docMk/>
            <pc:sldMk cId="4205427111" sldId="2440"/>
            <ac:spMk id="22" creationId="{6EA10ED2-50E3-40EA-8CC2-55F5E96A71E8}"/>
          </ac:spMkLst>
        </pc:spChg>
        <pc:spChg chg="mod">
          <ac:chgData name="Ana Isabel Silla Cortes" userId="S::asillaco@emeal.nttdata.com::b546b5c1-2aeb-468b-a361-4830835db4b0" providerId="AD" clId="Web-{0959733A-3604-4C63-B50A-906892277998}" dt="2022-04-29T11:15:07.046" v="133" actId="20577"/>
          <ac:spMkLst>
            <pc:docMk/>
            <pc:sldMk cId="4205427111" sldId="2440"/>
            <ac:spMk id="28" creationId="{DD453CE2-6FED-4720-8043-DBD1D2185AE1}"/>
          </ac:spMkLst>
        </pc:spChg>
        <pc:picChg chg="add mod ord">
          <ac:chgData name="Ana Isabel Silla Cortes" userId="S::asillaco@emeal.nttdata.com::b546b5c1-2aeb-468b-a361-4830835db4b0" providerId="AD" clId="Web-{0959733A-3604-4C63-B50A-906892277998}" dt="2022-04-29T11:15:39.969" v="142" actId="14100"/>
          <ac:picMkLst>
            <pc:docMk/>
            <pc:sldMk cId="4205427111" sldId="2440"/>
            <ac:picMk id="2" creationId="{94BB4E41-8C94-68E1-F104-7FF5D4889736}"/>
          </ac:picMkLst>
        </pc:picChg>
        <pc:picChg chg="del">
          <ac:chgData name="Ana Isabel Silla Cortes" userId="S::asillaco@emeal.nttdata.com::b546b5c1-2aeb-468b-a361-4830835db4b0" providerId="AD" clId="Web-{0959733A-3604-4C63-B50A-906892277998}" dt="2022-04-29T11:13:59.591" v="117"/>
          <ac:picMkLst>
            <pc:docMk/>
            <pc:sldMk cId="4205427111" sldId="2440"/>
            <ac:picMk id="7" creationId="{5A2C59E8-13A1-A628-2836-C4CAA77438C7}"/>
          </ac:picMkLst>
        </pc:picChg>
      </pc:sldChg>
      <pc:sldChg chg="addSp delSp modSp new del">
        <pc:chgData name="Ana Isabel Silla Cortes" userId="S::asillaco@emeal.nttdata.com::b546b5c1-2aeb-468b-a361-4830835db4b0" providerId="AD" clId="Web-{0959733A-3604-4C63-B50A-906892277998}" dt="2022-04-29T11:15:56.204" v="146"/>
        <pc:sldMkLst>
          <pc:docMk/>
          <pc:sldMk cId="4223166474" sldId="2441"/>
        </pc:sldMkLst>
        <pc:spChg chg="del">
          <ac:chgData name="Ana Isabel Silla Cortes" userId="S::asillaco@emeal.nttdata.com::b546b5c1-2aeb-468b-a361-4830835db4b0" providerId="AD" clId="Web-{0959733A-3604-4C63-B50A-906892277998}" dt="2022-04-29T11:15:13.985" v="135"/>
          <ac:spMkLst>
            <pc:docMk/>
            <pc:sldMk cId="4223166474" sldId="2441"/>
            <ac:spMk id="3" creationId="{8FFB8B32-DE97-2701-BD20-708062595366}"/>
          </ac:spMkLst>
        </pc:spChg>
        <pc:picChg chg="add mod ord">
          <ac:chgData name="Ana Isabel Silla Cortes" userId="S::asillaco@emeal.nttdata.com::b546b5c1-2aeb-468b-a361-4830835db4b0" providerId="AD" clId="Web-{0959733A-3604-4C63-B50A-906892277998}" dt="2022-04-29T11:15:13.985" v="135"/>
          <ac:picMkLst>
            <pc:docMk/>
            <pc:sldMk cId="4223166474" sldId="2441"/>
            <ac:picMk id="5" creationId="{21C264FA-2E5E-1575-970A-51FEC0F8B566}"/>
          </ac:picMkLst>
        </pc:picChg>
      </pc:sldChg>
    </pc:docChg>
  </pc:docChgLst>
  <pc:docChgLst>
    <pc:chgData name="Ana Isabel Silla Cortes" userId="S::asillaco@emeal.nttdata.com::b546b5c1-2aeb-468b-a361-4830835db4b0" providerId="AD" clId="Web-{984AFEC6-C9E3-4849-826D-86A3032F1764}"/>
    <pc:docChg chg="addSld delSld modSld sldOrd modSection">
      <pc:chgData name="Ana Isabel Silla Cortes" userId="S::asillaco@emeal.nttdata.com::b546b5c1-2aeb-468b-a361-4830835db4b0" providerId="AD" clId="Web-{984AFEC6-C9E3-4849-826D-86A3032F1764}" dt="2022-04-29T10:49:47.722" v="470" actId="20577"/>
      <pc:docMkLst>
        <pc:docMk/>
      </pc:docMkLst>
      <pc:sldChg chg="modSp">
        <pc:chgData name="Ana Isabel Silla Cortes" userId="S::asillaco@emeal.nttdata.com::b546b5c1-2aeb-468b-a361-4830835db4b0" providerId="AD" clId="Web-{984AFEC6-C9E3-4849-826D-86A3032F1764}" dt="2022-04-29T10:22:26.480" v="280" actId="20577"/>
        <pc:sldMkLst>
          <pc:docMk/>
          <pc:sldMk cId="2392750449" sldId="2335"/>
        </pc:sldMkLst>
        <pc:spChg chg="mod">
          <ac:chgData name="Ana Isabel Silla Cortes" userId="S::asillaco@emeal.nttdata.com::b546b5c1-2aeb-468b-a361-4830835db4b0" providerId="AD" clId="Web-{984AFEC6-C9E3-4849-826D-86A3032F1764}" dt="2022-04-29T10:22:26.480" v="280" actId="20577"/>
          <ac:spMkLst>
            <pc:docMk/>
            <pc:sldMk cId="2392750449" sldId="2335"/>
            <ac:spMk id="20" creationId="{EE2EB87E-F264-4765-9C66-FE84E21A3B66}"/>
          </ac:spMkLst>
        </pc:spChg>
      </pc:sldChg>
      <pc:sldChg chg="addSp modSp">
        <pc:chgData name="Ana Isabel Silla Cortes" userId="S::asillaco@emeal.nttdata.com::b546b5c1-2aeb-468b-a361-4830835db4b0" providerId="AD" clId="Web-{984AFEC6-C9E3-4849-826D-86A3032F1764}" dt="2022-04-29T10:21:44.103" v="276" actId="20577"/>
        <pc:sldMkLst>
          <pc:docMk/>
          <pc:sldMk cId="1977536290" sldId="2423"/>
        </pc:sldMkLst>
        <pc:spChg chg="add mod">
          <ac:chgData name="Ana Isabel Silla Cortes" userId="S::asillaco@emeal.nttdata.com::b546b5c1-2aeb-468b-a361-4830835db4b0" providerId="AD" clId="Web-{984AFEC6-C9E3-4849-826D-86A3032F1764}" dt="2022-04-29T10:21:44.103" v="276" actId="20577"/>
          <ac:spMkLst>
            <pc:docMk/>
            <pc:sldMk cId="1977536290" sldId="2423"/>
            <ac:spMk id="2" creationId="{540377F8-1E00-40B6-6D85-A772711F372A}"/>
          </ac:spMkLst>
        </pc:spChg>
        <pc:spChg chg="mod">
          <ac:chgData name="Ana Isabel Silla Cortes" userId="S::asillaco@emeal.nttdata.com::b546b5c1-2aeb-468b-a361-4830835db4b0" providerId="AD" clId="Web-{984AFEC6-C9E3-4849-826D-86A3032F1764}" dt="2022-04-29T10:10:26.342" v="2" actId="1076"/>
          <ac:spMkLst>
            <pc:docMk/>
            <pc:sldMk cId="1977536290" sldId="2423"/>
            <ac:spMk id="28" creationId="{DD453CE2-6FED-4720-8043-DBD1D2185AE1}"/>
          </ac:spMkLst>
        </pc:spChg>
      </pc:sldChg>
      <pc:sldChg chg="del">
        <pc:chgData name="Ana Isabel Silla Cortes" userId="S::asillaco@emeal.nttdata.com::b546b5c1-2aeb-468b-a361-4830835db4b0" providerId="AD" clId="Web-{984AFEC6-C9E3-4849-826D-86A3032F1764}" dt="2022-04-29T10:08:57.712" v="0"/>
        <pc:sldMkLst>
          <pc:docMk/>
          <pc:sldMk cId="3419713796" sldId="2426"/>
        </pc:sldMkLst>
      </pc:sldChg>
      <pc:sldChg chg="modSp add ord replId">
        <pc:chgData name="Ana Isabel Silla Cortes" userId="S::asillaco@emeal.nttdata.com::b546b5c1-2aeb-468b-a361-4830835db4b0" providerId="AD" clId="Web-{984AFEC6-C9E3-4849-826D-86A3032F1764}" dt="2022-04-29T10:23:31.844" v="289" actId="20577"/>
        <pc:sldMkLst>
          <pc:docMk/>
          <pc:sldMk cId="1737487934" sldId="2431"/>
        </pc:sldMkLst>
        <pc:spChg chg="mod">
          <ac:chgData name="Ana Isabel Silla Cortes" userId="S::asillaco@emeal.nttdata.com::b546b5c1-2aeb-468b-a361-4830835db4b0" providerId="AD" clId="Web-{984AFEC6-C9E3-4849-826D-86A3032F1764}" dt="2022-04-29T10:23:31.844" v="289" actId="20577"/>
          <ac:spMkLst>
            <pc:docMk/>
            <pc:sldMk cId="1737487934" sldId="2431"/>
            <ac:spMk id="20" creationId="{EE2EB87E-F264-4765-9C66-FE84E21A3B66}"/>
          </ac:spMkLst>
        </pc:spChg>
      </pc:sldChg>
      <pc:sldChg chg="add del replId">
        <pc:chgData name="Ana Isabel Silla Cortes" userId="S::asillaco@emeal.nttdata.com::b546b5c1-2aeb-468b-a361-4830835db4b0" providerId="AD" clId="Web-{984AFEC6-C9E3-4849-826D-86A3032F1764}" dt="2022-04-29T10:10:43.937" v="5"/>
        <pc:sldMkLst>
          <pc:docMk/>
          <pc:sldMk cId="2922025272" sldId="2431"/>
        </pc:sldMkLst>
      </pc:sldChg>
      <pc:sldChg chg="modSp add replId">
        <pc:chgData name="Ana Isabel Silla Cortes" userId="S::asillaco@emeal.nttdata.com::b546b5c1-2aeb-468b-a361-4830835db4b0" providerId="AD" clId="Web-{984AFEC6-C9E3-4849-826D-86A3032F1764}" dt="2022-04-29T10:23:21.015" v="287" actId="20577"/>
        <pc:sldMkLst>
          <pc:docMk/>
          <pc:sldMk cId="768627014" sldId="2432"/>
        </pc:sldMkLst>
        <pc:spChg chg="mod">
          <ac:chgData name="Ana Isabel Silla Cortes" userId="S::asillaco@emeal.nttdata.com::b546b5c1-2aeb-468b-a361-4830835db4b0" providerId="AD" clId="Web-{984AFEC6-C9E3-4849-826D-86A3032F1764}" dt="2022-04-29T10:23:21.015" v="287" actId="20577"/>
          <ac:spMkLst>
            <pc:docMk/>
            <pc:sldMk cId="768627014" sldId="2432"/>
            <ac:spMk id="20" creationId="{EE2EB87E-F264-4765-9C66-FE84E21A3B66}"/>
          </ac:spMkLst>
        </pc:spChg>
      </pc:sldChg>
      <pc:sldChg chg="modSp add ord replId">
        <pc:chgData name="Ana Isabel Silla Cortes" userId="S::asillaco@emeal.nttdata.com::b546b5c1-2aeb-468b-a361-4830835db4b0" providerId="AD" clId="Web-{984AFEC6-C9E3-4849-826D-86A3032F1764}" dt="2022-04-29T10:24:04.455" v="293" actId="20577"/>
        <pc:sldMkLst>
          <pc:docMk/>
          <pc:sldMk cId="2958677732" sldId="2433"/>
        </pc:sldMkLst>
        <pc:spChg chg="mod">
          <ac:chgData name="Ana Isabel Silla Cortes" userId="S::asillaco@emeal.nttdata.com::b546b5c1-2aeb-468b-a361-4830835db4b0" providerId="AD" clId="Web-{984AFEC6-C9E3-4849-826D-86A3032F1764}" dt="2022-04-29T10:24:04.455" v="293" actId="20577"/>
          <ac:spMkLst>
            <pc:docMk/>
            <pc:sldMk cId="2958677732" sldId="2433"/>
            <ac:spMk id="20" creationId="{EE2EB87E-F264-4765-9C66-FE84E21A3B66}"/>
          </ac:spMkLst>
        </pc:spChg>
      </pc:sldChg>
      <pc:sldChg chg="modSp add ord replId">
        <pc:chgData name="Ana Isabel Silla Cortes" userId="S::asillaco@emeal.nttdata.com::b546b5c1-2aeb-468b-a361-4830835db4b0" providerId="AD" clId="Web-{984AFEC6-C9E3-4849-826D-86A3032F1764}" dt="2022-04-29T10:24:57.927" v="297" actId="20577"/>
        <pc:sldMkLst>
          <pc:docMk/>
          <pc:sldMk cId="3347855164" sldId="2434"/>
        </pc:sldMkLst>
        <pc:spChg chg="mod">
          <ac:chgData name="Ana Isabel Silla Cortes" userId="S::asillaco@emeal.nttdata.com::b546b5c1-2aeb-468b-a361-4830835db4b0" providerId="AD" clId="Web-{984AFEC6-C9E3-4849-826D-86A3032F1764}" dt="2022-04-29T10:24:57.927" v="297" actId="20577"/>
          <ac:spMkLst>
            <pc:docMk/>
            <pc:sldMk cId="3347855164" sldId="2434"/>
            <ac:spMk id="20" creationId="{EE2EB87E-F264-4765-9C66-FE84E21A3B66}"/>
          </ac:spMkLst>
        </pc:spChg>
      </pc:sldChg>
      <pc:sldChg chg="modSp add ord replId">
        <pc:chgData name="Ana Isabel Silla Cortes" userId="S::asillaco@emeal.nttdata.com::b546b5c1-2aeb-468b-a361-4830835db4b0" providerId="AD" clId="Web-{984AFEC6-C9E3-4849-826D-86A3032F1764}" dt="2022-04-29T10:25:25.694" v="301" actId="20577"/>
        <pc:sldMkLst>
          <pc:docMk/>
          <pc:sldMk cId="1632767328" sldId="2435"/>
        </pc:sldMkLst>
        <pc:spChg chg="mod">
          <ac:chgData name="Ana Isabel Silla Cortes" userId="S::asillaco@emeal.nttdata.com::b546b5c1-2aeb-468b-a361-4830835db4b0" providerId="AD" clId="Web-{984AFEC6-C9E3-4849-826D-86A3032F1764}" dt="2022-04-29T10:25:25.694" v="301" actId="20577"/>
          <ac:spMkLst>
            <pc:docMk/>
            <pc:sldMk cId="1632767328" sldId="2435"/>
            <ac:spMk id="20" creationId="{EE2EB87E-F264-4765-9C66-FE84E21A3B66}"/>
          </ac:spMkLst>
        </pc:spChg>
      </pc:sldChg>
      <pc:sldChg chg="addSp delSp modSp add ord replId">
        <pc:chgData name="Ana Isabel Silla Cortes" userId="S::asillaco@emeal.nttdata.com::b546b5c1-2aeb-468b-a361-4830835db4b0" providerId="AD" clId="Web-{984AFEC6-C9E3-4849-826D-86A3032F1764}" dt="2022-04-29T10:46:25.585" v="364" actId="20577"/>
        <pc:sldMkLst>
          <pc:docMk/>
          <pc:sldMk cId="3994295725" sldId="2436"/>
        </pc:sldMkLst>
        <pc:spChg chg="del">
          <ac:chgData name="Ana Isabel Silla Cortes" userId="S::asillaco@emeal.nttdata.com::b546b5c1-2aeb-468b-a361-4830835db4b0" providerId="AD" clId="Web-{984AFEC6-C9E3-4849-826D-86A3032F1764}" dt="2022-04-29T10:26:34.433" v="325"/>
          <ac:spMkLst>
            <pc:docMk/>
            <pc:sldMk cId="3994295725" sldId="2436"/>
            <ac:spMk id="2" creationId="{540377F8-1E00-40B6-6D85-A772711F372A}"/>
          </ac:spMkLst>
        </pc:spChg>
        <pc:spChg chg="add mod">
          <ac:chgData name="Ana Isabel Silla Cortes" userId="S::asillaco@emeal.nttdata.com::b546b5c1-2aeb-468b-a361-4830835db4b0" providerId="AD" clId="Web-{984AFEC6-C9E3-4849-826D-86A3032F1764}" dt="2022-04-29T10:44:27.093" v="352"/>
          <ac:spMkLst>
            <pc:docMk/>
            <pc:sldMk cId="3994295725" sldId="2436"/>
            <ac:spMk id="12" creationId="{D9E25197-1741-DF0C-D5F5-C81EE0C7CBE8}"/>
          </ac:spMkLst>
        </pc:spChg>
        <pc:spChg chg="mod">
          <ac:chgData name="Ana Isabel Silla Cortes" userId="S::asillaco@emeal.nttdata.com::b546b5c1-2aeb-468b-a361-4830835db4b0" providerId="AD" clId="Web-{984AFEC6-C9E3-4849-826D-86A3032F1764}" dt="2022-04-29T10:26:02.619" v="305" actId="20577"/>
          <ac:spMkLst>
            <pc:docMk/>
            <pc:sldMk cId="3994295725" sldId="2436"/>
            <ac:spMk id="22" creationId="{6EA10ED2-50E3-40EA-8CC2-55F5E96A71E8}"/>
          </ac:spMkLst>
        </pc:spChg>
        <pc:spChg chg="mod">
          <ac:chgData name="Ana Isabel Silla Cortes" userId="S::asillaco@emeal.nttdata.com::b546b5c1-2aeb-468b-a361-4830835db4b0" providerId="AD" clId="Web-{984AFEC6-C9E3-4849-826D-86A3032F1764}" dt="2022-04-29T10:46:25.585" v="364" actId="20577"/>
          <ac:spMkLst>
            <pc:docMk/>
            <pc:sldMk cId="3994295725" sldId="2436"/>
            <ac:spMk id="28" creationId="{DD453CE2-6FED-4720-8043-DBD1D2185AE1}"/>
          </ac:spMkLst>
        </pc:spChg>
        <pc:picChg chg="add del mod">
          <ac:chgData name="Ana Isabel Silla Cortes" userId="S::asillaco@emeal.nttdata.com::b546b5c1-2aeb-468b-a361-4830835db4b0" providerId="AD" clId="Web-{984AFEC6-C9E3-4849-826D-86A3032F1764}" dt="2022-04-29T10:28:29.065" v="328"/>
          <ac:picMkLst>
            <pc:docMk/>
            <pc:sldMk cId="3994295725" sldId="2436"/>
            <ac:picMk id="4" creationId="{28115C58-42BB-C03E-C50A-D764353AD42F}"/>
          </ac:picMkLst>
        </pc:picChg>
        <pc:picChg chg="add del mod">
          <ac:chgData name="Ana Isabel Silla Cortes" userId="S::asillaco@emeal.nttdata.com::b546b5c1-2aeb-468b-a361-4830835db4b0" providerId="AD" clId="Web-{984AFEC6-C9E3-4849-826D-86A3032F1764}" dt="2022-04-29T10:28:35.144" v="330"/>
          <ac:picMkLst>
            <pc:docMk/>
            <pc:sldMk cId="3994295725" sldId="2436"/>
            <ac:picMk id="6" creationId="{D5F079C3-D79A-EFF0-5184-EA8A16BD826D}"/>
          </ac:picMkLst>
        </pc:picChg>
        <pc:picChg chg="add mod">
          <ac:chgData name="Ana Isabel Silla Cortes" userId="S::asillaco@emeal.nttdata.com::b546b5c1-2aeb-468b-a361-4830835db4b0" providerId="AD" clId="Web-{984AFEC6-C9E3-4849-826D-86A3032F1764}" dt="2022-04-29T10:29:07.271" v="338" actId="14100"/>
          <ac:picMkLst>
            <pc:docMk/>
            <pc:sldMk cId="3994295725" sldId="2436"/>
            <ac:picMk id="7" creationId="{5A2C59E8-13A1-A628-2836-C4CAA77438C7}"/>
          </ac:picMkLst>
        </pc:picChg>
        <pc:picChg chg="add del mod">
          <ac:chgData name="Ana Isabel Silla Cortes" userId="S::asillaco@emeal.nttdata.com::b546b5c1-2aeb-468b-a361-4830835db4b0" providerId="AD" clId="Web-{984AFEC6-C9E3-4849-826D-86A3032F1764}" dt="2022-04-29T10:42:07.787" v="344"/>
          <ac:picMkLst>
            <pc:docMk/>
            <pc:sldMk cId="3994295725" sldId="2436"/>
            <ac:picMk id="9" creationId="{53B26593-2A30-EB66-F79B-4A4EB005B195}"/>
          </ac:picMkLst>
        </pc:picChg>
        <pc:picChg chg="add del mod">
          <ac:chgData name="Ana Isabel Silla Cortes" userId="S::asillaco@emeal.nttdata.com::b546b5c1-2aeb-468b-a361-4830835db4b0" providerId="AD" clId="Web-{984AFEC6-C9E3-4849-826D-86A3032F1764}" dt="2022-04-29T10:42:39.899" v="346"/>
          <ac:picMkLst>
            <pc:docMk/>
            <pc:sldMk cId="3994295725" sldId="2436"/>
            <ac:picMk id="10" creationId="{F70EB0C6-1E56-0FBD-BE29-1A07898A2A27}"/>
          </ac:picMkLst>
        </pc:picChg>
      </pc:sldChg>
      <pc:sldChg chg="addSp delSp modSp new del">
        <pc:chgData name="Ana Isabel Silla Cortes" userId="S::asillaco@emeal.nttdata.com::b546b5c1-2aeb-468b-a361-4830835db4b0" providerId="AD" clId="Web-{984AFEC6-C9E3-4849-826D-86A3032F1764}" dt="2022-04-29T10:49:05.563" v="466"/>
        <pc:sldMkLst>
          <pc:docMk/>
          <pc:sldMk cId="2052533353" sldId="2437"/>
        </pc:sldMkLst>
        <pc:spChg chg="del">
          <ac:chgData name="Ana Isabel Silla Cortes" userId="S::asillaco@emeal.nttdata.com::b546b5c1-2aeb-468b-a361-4830835db4b0" providerId="AD" clId="Web-{984AFEC6-C9E3-4849-826D-86A3032F1764}" dt="2022-04-29T10:28:46.519" v="332"/>
          <ac:spMkLst>
            <pc:docMk/>
            <pc:sldMk cId="2052533353" sldId="2437"/>
            <ac:spMk id="3" creationId="{47666F3E-BB65-03BF-0BAB-6415DA97DE2C}"/>
          </ac:spMkLst>
        </pc:spChg>
        <pc:spChg chg="add mod">
          <ac:chgData name="Ana Isabel Silla Cortes" userId="S::asillaco@emeal.nttdata.com::b546b5c1-2aeb-468b-a361-4830835db4b0" providerId="AD" clId="Web-{984AFEC6-C9E3-4849-826D-86A3032F1764}" dt="2022-04-29T10:33:29.881" v="339"/>
          <ac:spMkLst>
            <pc:docMk/>
            <pc:sldMk cId="2052533353" sldId="2437"/>
            <ac:spMk id="7" creationId="{F97B7F5B-7C50-C1A0-2459-1DDB8B0E210E}"/>
          </ac:spMkLst>
        </pc:spChg>
        <pc:picChg chg="add del mod ord">
          <ac:chgData name="Ana Isabel Silla Cortes" userId="S::asillaco@emeal.nttdata.com::b546b5c1-2aeb-468b-a361-4830835db4b0" providerId="AD" clId="Web-{984AFEC6-C9E3-4849-826D-86A3032F1764}" dt="2022-04-29T10:33:29.881" v="339"/>
          <ac:picMkLst>
            <pc:docMk/>
            <pc:sldMk cId="2052533353" sldId="2437"/>
            <ac:picMk id="5" creationId="{3C6670F1-B05C-AFC1-E0DB-C1554880CE74}"/>
          </ac:picMkLst>
        </pc:picChg>
      </pc:sldChg>
      <pc:sldChg chg="addSp delSp modSp add replId">
        <pc:chgData name="Ana Isabel Silla Cortes" userId="S::asillaco@emeal.nttdata.com::b546b5c1-2aeb-468b-a361-4830835db4b0" providerId="AD" clId="Web-{984AFEC6-C9E3-4849-826D-86A3032F1764}" dt="2022-04-29T10:48:57.782" v="465" actId="20577"/>
        <pc:sldMkLst>
          <pc:docMk/>
          <pc:sldMk cId="2236573937" sldId="2438"/>
        </pc:sldMkLst>
        <pc:spChg chg="add mod">
          <ac:chgData name="Ana Isabel Silla Cortes" userId="S::asillaco@emeal.nttdata.com::b546b5c1-2aeb-468b-a361-4830835db4b0" providerId="AD" clId="Web-{984AFEC6-C9E3-4849-826D-86A3032F1764}" dt="2022-04-29T10:48:57.782" v="465" actId="20577"/>
          <ac:spMkLst>
            <pc:docMk/>
            <pc:sldMk cId="2236573937" sldId="2438"/>
            <ac:spMk id="2" creationId="{6F845D07-8496-66AF-C9F7-3EBA8F74B913}"/>
          </ac:spMkLst>
        </pc:spChg>
        <pc:spChg chg="del">
          <ac:chgData name="Ana Isabel Silla Cortes" userId="S::asillaco@emeal.nttdata.com::b546b5c1-2aeb-468b-a361-4830835db4b0" providerId="AD" clId="Web-{984AFEC6-C9E3-4849-826D-86A3032F1764}" dt="2022-04-29T10:46:11.459" v="355"/>
          <ac:spMkLst>
            <pc:docMk/>
            <pc:sldMk cId="2236573937" sldId="2438"/>
            <ac:spMk id="12" creationId="{D9E25197-1741-DF0C-D5F5-C81EE0C7CBE8}"/>
          </ac:spMkLst>
        </pc:spChg>
        <pc:spChg chg="mod">
          <ac:chgData name="Ana Isabel Silla Cortes" userId="S::asillaco@emeal.nttdata.com::b546b5c1-2aeb-468b-a361-4830835db4b0" providerId="AD" clId="Web-{984AFEC6-C9E3-4849-826D-86A3032F1764}" dt="2022-04-29T10:47:34.355" v="397" actId="20577"/>
          <ac:spMkLst>
            <pc:docMk/>
            <pc:sldMk cId="2236573937" sldId="2438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984AFEC6-C9E3-4849-826D-86A3032F1764}" dt="2022-04-29T10:46:07.474" v="354"/>
          <ac:picMkLst>
            <pc:docMk/>
            <pc:sldMk cId="2236573937" sldId="2438"/>
            <ac:picMk id="7" creationId="{5A2C59E8-13A1-A628-2836-C4CAA77438C7}"/>
          </ac:picMkLst>
        </pc:picChg>
      </pc:sldChg>
      <pc:sldChg chg="modSp add ord replId">
        <pc:chgData name="Ana Isabel Silla Cortes" userId="S::asillaco@emeal.nttdata.com::b546b5c1-2aeb-468b-a361-4830835db4b0" providerId="AD" clId="Web-{984AFEC6-C9E3-4849-826D-86A3032F1764}" dt="2022-04-29T10:49:47.722" v="470" actId="20577"/>
        <pc:sldMkLst>
          <pc:docMk/>
          <pc:sldMk cId="344171363" sldId="2439"/>
        </pc:sldMkLst>
        <pc:spChg chg="mod">
          <ac:chgData name="Ana Isabel Silla Cortes" userId="S::asillaco@emeal.nttdata.com::b546b5c1-2aeb-468b-a361-4830835db4b0" providerId="AD" clId="Web-{984AFEC6-C9E3-4849-826D-86A3032F1764}" dt="2022-04-29T10:49:47.722" v="470" actId="20577"/>
          <ac:spMkLst>
            <pc:docMk/>
            <pc:sldMk cId="344171363" sldId="2439"/>
            <ac:spMk id="20" creationId="{EE2EB87E-F264-4765-9C66-FE84E21A3B66}"/>
          </ac:spMkLst>
        </pc:spChg>
      </pc:sldChg>
    </pc:docChg>
  </pc:docChgLst>
  <pc:docChgLst>
    <pc:chgData name="David Pastor Puyuelo" userId="S::dpastopu@emeal.nttdata.com::4ba541ea-9651-41d4-862c-06544bb5ec7b" providerId="AD" clId="Web-{54D890C8-DDDC-601E-2A90-1D35EEBF1B09}"/>
    <pc:docChg chg="modSld">
      <pc:chgData name="David Pastor Puyuelo" userId="S::dpastopu@emeal.nttdata.com::4ba541ea-9651-41d4-862c-06544bb5ec7b" providerId="AD" clId="Web-{54D890C8-DDDC-601E-2A90-1D35EEBF1B09}" dt="2022-05-04T14:42:24.407" v="4" actId="1076"/>
      <pc:docMkLst>
        <pc:docMk/>
      </pc:docMkLst>
      <pc:sldChg chg="addSp delSp modSp">
        <pc:chgData name="David Pastor Puyuelo" userId="S::dpastopu@emeal.nttdata.com::4ba541ea-9651-41d4-862c-06544bb5ec7b" providerId="AD" clId="Web-{54D890C8-DDDC-601E-2A90-1D35EEBF1B09}" dt="2022-05-04T14:42:24.407" v="4" actId="1076"/>
        <pc:sldMkLst>
          <pc:docMk/>
          <pc:sldMk cId="2002864901" sldId="2429"/>
        </pc:sldMkLst>
        <pc:picChg chg="add mod">
          <ac:chgData name="David Pastor Puyuelo" userId="S::dpastopu@emeal.nttdata.com::4ba541ea-9651-41d4-862c-06544bb5ec7b" providerId="AD" clId="Web-{54D890C8-DDDC-601E-2A90-1D35EEBF1B09}" dt="2022-05-04T14:42:24.407" v="4" actId="1076"/>
          <ac:picMkLst>
            <pc:docMk/>
            <pc:sldMk cId="2002864901" sldId="2429"/>
            <ac:picMk id="2" creationId="{3BDCAC5F-230D-484F-A916-8CB580113745}"/>
          </ac:picMkLst>
        </pc:picChg>
        <pc:picChg chg="del">
          <ac:chgData name="David Pastor Puyuelo" userId="S::dpastopu@emeal.nttdata.com::4ba541ea-9651-41d4-862c-06544bb5ec7b" providerId="AD" clId="Web-{54D890C8-DDDC-601E-2A90-1D35EEBF1B09}" dt="2022-05-04T14:42:12.579" v="0"/>
          <ac:picMkLst>
            <pc:docMk/>
            <pc:sldMk cId="2002864901" sldId="2429"/>
            <ac:picMk id="7" creationId="{BF960F76-702B-8796-CF94-BBD641F5850E}"/>
          </ac:picMkLst>
        </pc:picChg>
      </pc:sldChg>
    </pc:docChg>
  </pc:docChgLst>
  <pc:docChgLst>
    <pc:chgData name="Ana Isabel Silla Cortes" userId="S::asillaco@emeal.nttdata.com::b546b5c1-2aeb-468b-a361-4830835db4b0" providerId="AD" clId="Web-{D17C0452-8346-4EB4-9228-797342458567}"/>
    <pc:docChg chg="modSld">
      <pc:chgData name="Ana Isabel Silla Cortes" userId="S::asillaco@emeal.nttdata.com::b546b5c1-2aeb-468b-a361-4830835db4b0" providerId="AD" clId="Web-{D17C0452-8346-4EB4-9228-797342458567}" dt="2022-05-03T12:34:47.878" v="167" actId="20577"/>
      <pc:docMkLst>
        <pc:docMk/>
      </pc:docMkLst>
      <pc:sldChg chg="modSp">
        <pc:chgData name="Ana Isabel Silla Cortes" userId="S::asillaco@emeal.nttdata.com::b546b5c1-2aeb-468b-a361-4830835db4b0" providerId="AD" clId="Web-{D17C0452-8346-4EB4-9228-797342458567}" dt="2022-05-03T12:28:14.338" v="3" actId="20577"/>
        <pc:sldMkLst>
          <pc:docMk/>
          <pc:sldMk cId="981156525" sldId="2418"/>
        </pc:sldMkLst>
        <pc:spChg chg="mod">
          <ac:chgData name="Ana Isabel Silla Cortes" userId="S::asillaco@emeal.nttdata.com::b546b5c1-2aeb-468b-a361-4830835db4b0" providerId="AD" clId="Web-{D17C0452-8346-4EB4-9228-797342458567}" dt="2022-05-03T12:28:14.338" v="3" actId="20577"/>
          <ac:spMkLst>
            <pc:docMk/>
            <pc:sldMk cId="981156525" sldId="2418"/>
            <ac:spMk id="2" creationId="{830EE9A9-04A7-6669-A951-D6117184AC85}"/>
          </ac:spMkLst>
        </pc:spChg>
      </pc:sldChg>
      <pc:sldChg chg="modSp">
        <pc:chgData name="Ana Isabel Silla Cortes" userId="S::asillaco@emeal.nttdata.com::b546b5c1-2aeb-468b-a361-4830835db4b0" providerId="AD" clId="Web-{D17C0452-8346-4EB4-9228-797342458567}" dt="2022-05-03T12:34:47.878" v="167" actId="20577"/>
        <pc:sldMkLst>
          <pc:docMk/>
          <pc:sldMk cId="3678979713" sldId="2451"/>
        </pc:sldMkLst>
        <pc:spChg chg="mod">
          <ac:chgData name="Ana Isabel Silla Cortes" userId="S::asillaco@emeal.nttdata.com::b546b5c1-2aeb-468b-a361-4830835db4b0" providerId="AD" clId="Web-{D17C0452-8346-4EB4-9228-797342458567}" dt="2022-05-03T12:34:47.878" v="167" actId="20577"/>
          <ac:spMkLst>
            <pc:docMk/>
            <pc:sldMk cId="3678979713" sldId="2451"/>
            <ac:spMk id="9" creationId="{540377F8-1E00-40B6-6D85-A772711F372A}"/>
          </ac:spMkLst>
        </pc:spChg>
      </pc:sldChg>
      <pc:sldChg chg="modSp">
        <pc:chgData name="Ana Isabel Silla Cortes" userId="S::asillaco@emeal.nttdata.com::b546b5c1-2aeb-468b-a361-4830835db4b0" providerId="AD" clId="Web-{D17C0452-8346-4EB4-9228-797342458567}" dt="2022-05-03T12:29:50.938" v="4" actId="14100"/>
        <pc:sldMkLst>
          <pc:docMk/>
          <pc:sldMk cId="2448940607" sldId="2472"/>
        </pc:sldMkLst>
        <pc:spChg chg="mod">
          <ac:chgData name="Ana Isabel Silla Cortes" userId="S::asillaco@emeal.nttdata.com::b546b5c1-2aeb-468b-a361-4830835db4b0" providerId="AD" clId="Web-{D17C0452-8346-4EB4-9228-797342458567}" dt="2022-05-03T12:29:50.938" v="4" actId="14100"/>
          <ac:spMkLst>
            <pc:docMk/>
            <pc:sldMk cId="2448940607" sldId="2472"/>
            <ac:spMk id="9" creationId="{D7D31A86-749A-3617-6B38-C9E59FA3B028}"/>
          </ac:spMkLst>
        </pc:spChg>
      </pc:sldChg>
    </pc:docChg>
  </pc:docChgLst>
  <pc:docChgLst>
    <pc:chgData name="Ana Isabel Silla Cortes" userId="S::asillaco@emeal.nttdata.com::b546b5c1-2aeb-468b-a361-4830835db4b0" providerId="AD" clId="Web-{681DD955-6EFD-4AA1-9265-646D42DB4B13}"/>
    <pc:docChg chg="addSld delSld modSld sldOrd modSection">
      <pc:chgData name="Ana Isabel Silla Cortes" userId="S::asillaco@emeal.nttdata.com::b546b5c1-2aeb-468b-a361-4830835db4b0" providerId="AD" clId="Web-{681DD955-6EFD-4AA1-9265-646D42DB4B13}" dt="2022-04-29T11:54:49.971" v="431" actId="20577"/>
      <pc:docMkLst>
        <pc:docMk/>
      </pc:docMkLst>
      <pc:sldChg chg="modSp">
        <pc:chgData name="Ana Isabel Silla Cortes" userId="S::asillaco@emeal.nttdata.com::b546b5c1-2aeb-468b-a361-4830835db4b0" providerId="AD" clId="Web-{681DD955-6EFD-4AA1-9265-646D42DB4B13}" dt="2022-04-29T11:37:30.145" v="71" actId="20577"/>
        <pc:sldMkLst>
          <pc:docMk/>
          <pc:sldMk cId="1977536290" sldId="2423"/>
        </pc:sldMkLst>
        <pc:spChg chg="mod">
          <ac:chgData name="Ana Isabel Silla Cortes" userId="S::asillaco@emeal.nttdata.com::b546b5c1-2aeb-468b-a361-4830835db4b0" providerId="AD" clId="Web-{681DD955-6EFD-4AA1-9265-646D42DB4B13}" dt="2022-04-29T11:37:30.145" v="71" actId="20577"/>
          <ac:spMkLst>
            <pc:docMk/>
            <pc:sldMk cId="1977536290" sldId="2423"/>
            <ac:spMk id="2" creationId="{540377F8-1E00-40B6-6D85-A772711F372A}"/>
          </ac:spMkLst>
        </pc:spChg>
      </pc:sldChg>
      <pc:sldChg chg="ord">
        <pc:chgData name="Ana Isabel Silla Cortes" userId="S::asillaco@emeal.nttdata.com::b546b5c1-2aeb-468b-a361-4830835db4b0" providerId="AD" clId="Web-{681DD955-6EFD-4AA1-9265-646D42DB4B13}" dt="2022-04-29T11:43:57.015" v="110"/>
        <pc:sldMkLst>
          <pc:docMk/>
          <pc:sldMk cId="2749353794" sldId="2441"/>
        </pc:sldMkLst>
      </pc:sldChg>
      <pc:sldChg chg="addSp delSp modSp">
        <pc:chgData name="Ana Isabel Silla Cortes" userId="S::asillaco@emeal.nttdata.com::b546b5c1-2aeb-468b-a361-4830835db4b0" providerId="AD" clId="Web-{681DD955-6EFD-4AA1-9265-646D42DB4B13}" dt="2022-04-29T11:43:44.718" v="108" actId="1076"/>
        <pc:sldMkLst>
          <pc:docMk/>
          <pc:sldMk cId="3916546720" sldId="2442"/>
        </pc:sldMkLst>
        <pc:picChg chg="add del mod">
          <ac:chgData name="Ana Isabel Silla Cortes" userId="S::asillaco@emeal.nttdata.com::b546b5c1-2aeb-468b-a361-4830835db4b0" providerId="AD" clId="Web-{681DD955-6EFD-4AA1-9265-646D42DB4B13}" dt="2022-04-29T11:42:00.888" v="96"/>
          <ac:picMkLst>
            <pc:docMk/>
            <pc:sldMk cId="3916546720" sldId="2442"/>
            <ac:picMk id="2" creationId="{69B04E37-8130-55CD-ABB9-E49E16CA2406}"/>
          </ac:picMkLst>
        </pc:picChg>
        <pc:picChg chg="add del mod">
          <ac:chgData name="Ana Isabel Silla Cortes" userId="S::asillaco@emeal.nttdata.com::b546b5c1-2aeb-468b-a361-4830835db4b0" providerId="AD" clId="Web-{681DD955-6EFD-4AA1-9265-646D42DB4B13}" dt="2022-04-29T11:42:02.497" v="97"/>
          <ac:picMkLst>
            <pc:docMk/>
            <pc:sldMk cId="3916546720" sldId="2442"/>
            <ac:picMk id="4" creationId="{BC81747F-3F61-932C-F9FC-B7DAF6222E42}"/>
          </ac:picMkLst>
        </pc:picChg>
        <pc:picChg chg="add del mod">
          <ac:chgData name="Ana Isabel Silla Cortes" userId="S::asillaco@emeal.nttdata.com::b546b5c1-2aeb-468b-a361-4830835db4b0" providerId="AD" clId="Web-{681DD955-6EFD-4AA1-9265-646D42DB4B13}" dt="2022-04-29T11:40:39.665" v="83"/>
          <ac:picMkLst>
            <pc:docMk/>
            <pc:sldMk cId="3916546720" sldId="2442"/>
            <ac:picMk id="6" creationId="{E72BC9E2-7C88-281B-973C-6EE3065F4E92}"/>
          </ac:picMkLst>
        </pc:picChg>
        <pc:picChg chg="add del mod">
          <ac:chgData name="Ana Isabel Silla Cortes" userId="S::asillaco@emeal.nttdata.com::b546b5c1-2aeb-468b-a361-4830835db4b0" providerId="AD" clId="Web-{681DD955-6EFD-4AA1-9265-646D42DB4B13}" dt="2022-04-29T11:42:02.544" v="98"/>
          <ac:picMkLst>
            <pc:docMk/>
            <pc:sldMk cId="3916546720" sldId="2442"/>
            <ac:picMk id="7" creationId="{571986EB-E557-8331-8D62-778C61744320}"/>
          </ac:picMkLst>
        </pc:picChg>
        <pc:picChg chg="add mod">
          <ac:chgData name="Ana Isabel Silla Cortes" userId="S::asillaco@emeal.nttdata.com::b546b5c1-2aeb-468b-a361-4830835db4b0" providerId="AD" clId="Web-{681DD955-6EFD-4AA1-9265-646D42DB4B13}" dt="2022-04-29T11:43:44.718" v="108" actId="1076"/>
          <ac:picMkLst>
            <pc:docMk/>
            <pc:sldMk cId="3916546720" sldId="2442"/>
            <ac:picMk id="11" creationId="{81C86243-9CE3-D06E-1F35-16650D78D697}"/>
          </ac:picMkLst>
        </pc:picChg>
      </pc:sldChg>
      <pc:sldChg chg="addSp delSp modSp new del">
        <pc:chgData name="Ana Isabel Silla Cortes" userId="S::asillaco@emeal.nttdata.com::b546b5c1-2aeb-468b-a361-4830835db4b0" providerId="AD" clId="Web-{681DD955-6EFD-4AA1-9265-646D42DB4B13}" dt="2022-04-29T11:43:00.952" v="102"/>
        <pc:sldMkLst>
          <pc:docMk/>
          <pc:sldMk cId="1874601626" sldId="2443"/>
        </pc:sldMkLst>
        <pc:spChg chg="del">
          <ac:chgData name="Ana Isabel Silla Cortes" userId="S::asillaco@emeal.nttdata.com::b546b5c1-2aeb-468b-a361-4830835db4b0" providerId="AD" clId="Web-{681DD955-6EFD-4AA1-9265-646D42DB4B13}" dt="2022-04-29T11:38:33.912" v="74"/>
          <ac:spMkLst>
            <pc:docMk/>
            <pc:sldMk cId="1874601626" sldId="2443"/>
            <ac:spMk id="3" creationId="{F5BB8CD3-187A-0672-1BCC-504996E7AAE3}"/>
          </ac:spMkLst>
        </pc:spChg>
        <pc:spChg chg="add del mod">
          <ac:chgData name="Ana Isabel Silla Cortes" userId="S::asillaco@emeal.nttdata.com::b546b5c1-2aeb-468b-a361-4830835db4b0" providerId="AD" clId="Web-{681DD955-6EFD-4AA1-9265-646D42DB4B13}" dt="2022-04-29T11:39:27.445" v="78"/>
          <ac:spMkLst>
            <pc:docMk/>
            <pc:sldMk cId="1874601626" sldId="2443"/>
            <ac:spMk id="7" creationId="{A19C2D58-8E33-EF19-FC49-569863517772}"/>
          </ac:spMkLst>
        </pc:spChg>
        <pc:spChg chg="add del mod">
          <ac:chgData name="Ana Isabel Silla Cortes" userId="S::asillaco@emeal.nttdata.com::b546b5c1-2aeb-468b-a361-4830835db4b0" providerId="AD" clId="Web-{681DD955-6EFD-4AA1-9265-646D42DB4B13}" dt="2022-04-29T11:40:44.290" v="85"/>
          <ac:spMkLst>
            <pc:docMk/>
            <pc:sldMk cId="1874601626" sldId="2443"/>
            <ac:spMk id="10" creationId="{20522EF2-8F38-0280-91D3-A06E759BCFE4}"/>
          </ac:spMkLst>
        </pc:spChg>
        <pc:spChg chg="add del mod">
          <ac:chgData name="Ana Isabel Silla Cortes" userId="S::asillaco@emeal.nttdata.com::b546b5c1-2aeb-468b-a361-4830835db4b0" providerId="AD" clId="Web-{681DD955-6EFD-4AA1-9265-646D42DB4B13}" dt="2022-04-29T11:41:49.309" v="93"/>
          <ac:spMkLst>
            <pc:docMk/>
            <pc:sldMk cId="1874601626" sldId="2443"/>
            <ac:spMk id="13" creationId="{CDDF1EB5-6DF0-FBE8-6EFC-AFF504819F20}"/>
          </ac:spMkLst>
        </pc:spChg>
        <pc:picChg chg="add del mod ord">
          <ac:chgData name="Ana Isabel Silla Cortes" userId="S::asillaco@emeal.nttdata.com::b546b5c1-2aeb-468b-a361-4830835db4b0" providerId="AD" clId="Web-{681DD955-6EFD-4AA1-9265-646D42DB4B13}" dt="2022-04-29T11:39:24.663" v="77"/>
          <ac:picMkLst>
            <pc:docMk/>
            <pc:sldMk cId="1874601626" sldId="2443"/>
            <ac:picMk id="5" creationId="{327947C0-2A11-8C10-5DDD-3552567870FA}"/>
          </ac:picMkLst>
        </pc:picChg>
        <pc:picChg chg="add del mod ord">
          <ac:chgData name="Ana Isabel Silla Cortes" userId="S::asillaco@emeal.nttdata.com::b546b5c1-2aeb-468b-a361-4830835db4b0" providerId="AD" clId="Web-{681DD955-6EFD-4AA1-9265-646D42DB4B13}" dt="2022-04-29T11:40:41.322" v="84"/>
          <ac:picMkLst>
            <pc:docMk/>
            <pc:sldMk cId="1874601626" sldId="2443"/>
            <ac:picMk id="8" creationId="{66DF41D5-084F-E24F-8441-5854FD91E72E}"/>
          </ac:picMkLst>
        </pc:picChg>
        <pc:picChg chg="add del mod ord">
          <ac:chgData name="Ana Isabel Silla Cortes" userId="S::asillaco@emeal.nttdata.com::b546b5c1-2aeb-468b-a361-4830835db4b0" providerId="AD" clId="Web-{681DD955-6EFD-4AA1-9265-646D42DB4B13}" dt="2022-04-29T11:41:46.450" v="92"/>
          <ac:picMkLst>
            <pc:docMk/>
            <pc:sldMk cId="1874601626" sldId="2443"/>
            <ac:picMk id="11" creationId="{678ADD7E-AA14-D0DB-2C84-5CE5C26AA3B6}"/>
          </ac:picMkLst>
        </pc:picChg>
        <pc:picChg chg="add mod ord">
          <ac:chgData name="Ana Isabel Silla Cortes" userId="S::asillaco@emeal.nttdata.com::b546b5c1-2aeb-468b-a361-4830835db4b0" providerId="AD" clId="Web-{681DD955-6EFD-4AA1-9265-646D42DB4B13}" dt="2022-04-29T11:42:57.998" v="101" actId="1076"/>
          <ac:picMkLst>
            <pc:docMk/>
            <pc:sldMk cId="1874601626" sldId="2443"/>
            <ac:picMk id="14" creationId="{EEE37DAB-37A4-C8AE-CAEA-A46A2BDF4E68}"/>
          </ac:picMkLst>
        </pc:picChg>
      </pc:sldChg>
      <pc:sldChg chg="del">
        <pc:chgData name="Ana Isabel Silla Cortes" userId="S::asillaco@emeal.nttdata.com::b546b5c1-2aeb-468b-a361-4830835db4b0" providerId="AD" clId="Web-{681DD955-6EFD-4AA1-9265-646D42DB4B13}" dt="2022-04-29T11:37:45.442" v="72"/>
        <pc:sldMkLst>
          <pc:docMk/>
          <pc:sldMk cId="1291511587" sldId="2445"/>
        </pc:sldMkLst>
      </pc:sldChg>
      <pc:sldChg chg="del">
        <pc:chgData name="Ana Isabel Silla Cortes" userId="S::asillaco@emeal.nttdata.com::b546b5c1-2aeb-468b-a361-4830835db4b0" providerId="AD" clId="Web-{681DD955-6EFD-4AA1-9265-646D42DB4B13}" dt="2022-04-29T11:53:58.907" v="428"/>
        <pc:sldMkLst>
          <pc:docMk/>
          <pc:sldMk cId="2598463834" sldId="2447"/>
        </pc:sldMkLst>
      </pc:sldChg>
      <pc:sldChg chg="addSp delSp modSp add del replId">
        <pc:chgData name="Ana Isabel Silla Cortes" userId="S::asillaco@emeal.nttdata.com::b546b5c1-2aeb-468b-a361-4830835db4b0" providerId="AD" clId="Web-{681DD955-6EFD-4AA1-9265-646D42DB4B13}" dt="2022-04-29T11:43:49.312" v="109"/>
        <pc:sldMkLst>
          <pc:docMk/>
          <pc:sldMk cId="3654123299" sldId="2448"/>
        </pc:sldMkLst>
        <pc:spChg chg="add del mod">
          <ac:chgData name="Ana Isabel Silla Cortes" userId="S::asillaco@emeal.nttdata.com::b546b5c1-2aeb-468b-a361-4830835db4b0" providerId="AD" clId="Web-{681DD955-6EFD-4AA1-9265-646D42DB4B13}" dt="2022-04-29T11:43:29.265" v="104"/>
          <ac:spMkLst>
            <pc:docMk/>
            <pc:sldMk cId="3654123299" sldId="2448"/>
            <ac:spMk id="5" creationId="{A764F5C7-EF4E-939A-5617-A23DB7D751C5}"/>
          </ac:spMkLst>
        </pc:spChg>
        <pc:picChg chg="add mod ord">
          <ac:chgData name="Ana Isabel Silla Cortes" userId="S::asillaco@emeal.nttdata.com::b546b5c1-2aeb-468b-a361-4830835db4b0" providerId="AD" clId="Web-{681DD955-6EFD-4AA1-9265-646D42DB4B13}" dt="2022-04-29T11:43:29.265" v="104"/>
          <ac:picMkLst>
            <pc:docMk/>
            <pc:sldMk cId="3654123299" sldId="2448"/>
            <ac:picMk id="6" creationId="{44537A2E-F1B1-286A-C141-CD2BAF5F2381}"/>
          </ac:picMkLst>
        </pc:picChg>
        <pc:picChg chg="del mod">
          <ac:chgData name="Ana Isabel Silla Cortes" userId="S::asillaco@emeal.nttdata.com::b546b5c1-2aeb-468b-a361-4830835db4b0" providerId="AD" clId="Web-{681DD955-6EFD-4AA1-9265-646D42DB4B13}" dt="2022-04-29T11:43:27.077" v="103"/>
          <ac:picMkLst>
            <pc:docMk/>
            <pc:sldMk cId="3654123299" sldId="2448"/>
            <ac:picMk id="14" creationId="{EEE37DAB-37A4-C8AE-CAEA-A46A2BDF4E68}"/>
          </ac:picMkLst>
        </pc:picChg>
      </pc:sldChg>
      <pc:sldChg chg="modSp">
        <pc:chgData name="Ana Isabel Silla Cortes" userId="S::asillaco@emeal.nttdata.com::b546b5c1-2aeb-468b-a361-4830835db4b0" providerId="AD" clId="Web-{681DD955-6EFD-4AA1-9265-646D42DB4B13}" dt="2022-04-29T11:54:49.971" v="431" actId="20577"/>
        <pc:sldMkLst>
          <pc:docMk/>
          <pc:sldMk cId="3330879086" sldId="2452"/>
        </pc:sldMkLst>
        <pc:spChg chg="mod">
          <ac:chgData name="Ana Isabel Silla Cortes" userId="S::asillaco@emeal.nttdata.com::b546b5c1-2aeb-468b-a361-4830835db4b0" providerId="AD" clId="Web-{681DD955-6EFD-4AA1-9265-646D42DB4B13}" dt="2022-04-29T11:54:49.971" v="431" actId="20577"/>
          <ac:spMkLst>
            <pc:docMk/>
            <pc:sldMk cId="3330879086" sldId="2452"/>
            <ac:spMk id="20" creationId="{EE2EB87E-F264-4765-9C66-FE84E21A3B66}"/>
          </ac:spMkLst>
        </pc:spChg>
      </pc:sldChg>
      <pc:sldChg chg="modSp add ord replId">
        <pc:chgData name="Ana Isabel Silla Cortes" userId="S::asillaco@emeal.nttdata.com::b546b5c1-2aeb-468b-a361-4830835db4b0" providerId="AD" clId="Web-{681DD955-6EFD-4AA1-9265-646D42DB4B13}" dt="2022-04-29T11:44:30.485" v="115"/>
        <pc:sldMkLst>
          <pc:docMk/>
          <pc:sldMk cId="163228844" sldId="2453"/>
        </pc:sldMkLst>
        <pc:spChg chg="mod">
          <ac:chgData name="Ana Isabel Silla Cortes" userId="S::asillaco@emeal.nttdata.com::b546b5c1-2aeb-468b-a361-4830835db4b0" providerId="AD" clId="Web-{681DD955-6EFD-4AA1-9265-646D42DB4B13}" dt="2022-04-29T11:44:25.422" v="114" actId="20577"/>
          <ac:spMkLst>
            <pc:docMk/>
            <pc:sldMk cId="163228844" sldId="2453"/>
            <ac:spMk id="20" creationId="{EE2EB87E-F264-4765-9C66-FE84E21A3B66}"/>
          </ac:spMkLst>
        </pc:spChg>
      </pc:sldChg>
      <pc:sldChg chg="delSp modSp add ord replId">
        <pc:chgData name="Ana Isabel Silla Cortes" userId="S::asillaco@emeal.nttdata.com::b546b5c1-2aeb-468b-a361-4830835db4b0" providerId="AD" clId="Web-{681DD955-6EFD-4AA1-9265-646D42DB4B13}" dt="2022-04-29T11:53:56.798" v="427" actId="20577"/>
        <pc:sldMkLst>
          <pc:docMk/>
          <pc:sldMk cId="1509237927" sldId="2454"/>
        </pc:sldMkLst>
        <pc:spChg chg="mod">
          <ac:chgData name="Ana Isabel Silla Cortes" userId="S::asillaco@emeal.nttdata.com::b546b5c1-2aeb-468b-a361-4830835db4b0" providerId="AD" clId="Web-{681DD955-6EFD-4AA1-9265-646D42DB4B13}" dt="2022-04-29T11:53:56.798" v="427" actId="20577"/>
          <ac:spMkLst>
            <pc:docMk/>
            <pc:sldMk cId="1509237927" sldId="2454"/>
            <ac:spMk id="2" creationId="{6F845D07-8496-66AF-C9F7-3EBA8F74B913}"/>
          </ac:spMkLst>
        </pc:spChg>
        <pc:spChg chg="mod">
          <ac:chgData name="Ana Isabel Silla Cortes" userId="S::asillaco@emeal.nttdata.com::b546b5c1-2aeb-468b-a361-4830835db4b0" providerId="AD" clId="Web-{681DD955-6EFD-4AA1-9265-646D42DB4B13}" dt="2022-04-29T11:47:26.849" v="154" actId="20577"/>
          <ac:spMkLst>
            <pc:docMk/>
            <pc:sldMk cId="1509237927" sldId="2454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681DD955-6EFD-4AA1-9265-646D42DB4B13}" dt="2022-04-29T11:47:46.584" v="173"/>
          <ac:picMkLst>
            <pc:docMk/>
            <pc:sldMk cId="1509237927" sldId="2454"/>
            <ac:picMk id="6" creationId="{66111688-9F28-D897-E046-34FD0A2DF87B}"/>
          </ac:picMkLst>
        </pc:picChg>
        <pc:picChg chg="del">
          <ac:chgData name="Ana Isabel Silla Cortes" userId="S::asillaco@emeal.nttdata.com::b546b5c1-2aeb-468b-a361-4830835db4b0" providerId="AD" clId="Web-{681DD955-6EFD-4AA1-9265-646D42DB4B13}" dt="2022-04-29T11:47:46.646" v="174"/>
          <ac:picMkLst>
            <pc:docMk/>
            <pc:sldMk cId="1509237927" sldId="2454"/>
            <ac:picMk id="7" creationId="{9476FD7B-534A-8066-88A4-D4F9DCE14084}"/>
          </ac:picMkLst>
        </pc:picChg>
      </pc:sldChg>
      <pc:sldChg chg="addSp delSp modSp add replId">
        <pc:chgData name="Ana Isabel Silla Cortes" userId="S::asillaco@emeal.nttdata.com::b546b5c1-2aeb-468b-a361-4830835db4b0" providerId="AD" clId="Web-{681DD955-6EFD-4AA1-9265-646D42DB4B13}" dt="2022-04-29T11:47:03.786" v="138" actId="1076"/>
        <pc:sldMkLst>
          <pc:docMk/>
          <pc:sldMk cId="808673692" sldId="2455"/>
        </pc:sldMkLst>
        <pc:spChg chg="del">
          <ac:chgData name="Ana Isabel Silla Cortes" userId="S::asillaco@emeal.nttdata.com::b546b5c1-2aeb-468b-a361-4830835db4b0" providerId="AD" clId="Web-{681DD955-6EFD-4AA1-9265-646D42DB4B13}" dt="2022-04-29T11:45:46.518" v="120"/>
          <ac:spMkLst>
            <pc:docMk/>
            <pc:sldMk cId="808673692" sldId="2455"/>
            <ac:spMk id="12" creationId="{D9E25197-1741-DF0C-D5F5-C81EE0C7CBE8}"/>
          </ac:spMkLst>
        </pc:spChg>
        <pc:spChg chg="mod">
          <ac:chgData name="Ana Isabel Silla Cortes" userId="S::asillaco@emeal.nttdata.com::b546b5c1-2aeb-468b-a361-4830835db4b0" providerId="AD" clId="Web-{681DD955-6EFD-4AA1-9265-646D42DB4B13}" dt="2022-04-29T11:46:34.191" v="133" actId="20577"/>
          <ac:spMkLst>
            <pc:docMk/>
            <pc:sldMk cId="808673692" sldId="2455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681DD955-6EFD-4AA1-9265-646D42DB4B13}" dt="2022-04-29T11:45:43.643" v="119"/>
          <ac:picMkLst>
            <pc:docMk/>
            <pc:sldMk cId="808673692" sldId="2455"/>
            <ac:picMk id="2" creationId="{94BB4E41-8C94-68E1-F104-7FF5D4889736}"/>
          </ac:picMkLst>
        </pc:picChg>
        <pc:picChg chg="add mod">
          <ac:chgData name="Ana Isabel Silla Cortes" userId="S::asillaco@emeal.nttdata.com::b546b5c1-2aeb-468b-a361-4830835db4b0" providerId="AD" clId="Web-{681DD955-6EFD-4AA1-9265-646D42DB4B13}" dt="2022-04-29T11:47:03.786" v="138" actId="1076"/>
          <ac:picMkLst>
            <pc:docMk/>
            <pc:sldMk cId="808673692" sldId="2455"/>
            <ac:picMk id="4" creationId="{DC1E40CC-AD06-CA0F-0D7B-06312C28724B}"/>
          </ac:picMkLst>
        </pc:picChg>
      </pc:sldChg>
      <pc:sldChg chg="addSp delSp modSp new del">
        <pc:chgData name="Ana Isabel Silla Cortes" userId="S::asillaco@emeal.nttdata.com::b546b5c1-2aeb-468b-a361-4830835db4b0" providerId="AD" clId="Web-{681DD955-6EFD-4AA1-9265-646D42DB4B13}" dt="2022-04-29T11:46:51.426" v="137"/>
        <pc:sldMkLst>
          <pc:docMk/>
          <pc:sldMk cId="222451634" sldId="2456"/>
        </pc:sldMkLst>
        <pc:spChg chg="del">
          <ac:chgData name="Ana Isabel Silla Cortes" userId="S::asillaco@emeal.nttdata.com::b546b5c1-2aeb-468b-a361-4830835db4b0" providerId="AD" clId="Web-{681DD955-6EFD-4AA1-9265-646D42DB4B13}" dt="2022-04-29T11:46:42.410" v="135"/>
          <ac:spMkLst>
            <pc:docMk/>
            <pc:sldMk cId="222451634" sldId="2456"/>
            <ac:spMk id="3" creationId="{033F58D8-B387-1EA4-51B5-7B8F5D6D9DE9}"/>
          </ac:spMkLst>
        </pc:spChg>
        <pc:picChg chg="add mod ord">
          <ac:chgData name="Ana Isabel Silla Cortes" userId="S::asillaco@emeal.nttdata.com::b546b5c1-2aeb-468b-a361-4830835db4b0" providerId="AD" clId="Web-{681DD955-6EFD-4AA1-9265-646D42DB4B13}" dt="2022-04-29T11:46:42.410" v="135"/>
          <ac:picMkLst>
            <pc:docMk/>
            <pc:sldMk cId="222451634" sldId="2456"/>
            <ac:picMk id="5" creationId="{AC11D16E-96FD-853C-A219-D43D70B8C132}"/>
          </ac:picMkLst>
        </pc:picChg>
      </pc:sldChg>
    </pc:docChg>
  </pc:docChgLst>
  <pc:docChgLst>
    <pc:chgData name="Ana Isabel Silla Cortes" userId="S::asillaco@emeal.nttdata.com::b546b5c1-2aeb-468b-a361-4830835db4b0" providerId="AD" clId="Web-{F6E87CED-7BC0-4910-93D0-B35EAA94C1A8}"/>
    <pc:docChg chg="addSld delSld modSld sldOrd modSection">
      <pc:chgData name="Ana Isabel Silla Cortes" userId="S::asillaco@emeal.nttdata.com::b546b5c1-2aeb-468b-a361-4830835db4b0" providerId="AD" clId="Web-{F6E87CED-7BC0-4910-93D0-B35EAA94C1A8}" dt="2022-04-29T09:17:49.123" v="113" actId="14100"/>
      <pc:docMkLst>
        <pc:docMk/>
      </pc:docMkLst>
      <pc:sldChg chg="addSp delSp modSp">
        <pc:chgData name="Ana Isabel Silla Cortes" userId="S::asillaco@emeal.nttdata.com::b546b5c1-2aeb-468b-a361-4830835db4b0" providerId="AD" clId="Web-{F6E87CED-7BC0-4910-93D0-B35EAA94C1A8}" dt="2022-04-29T09:11:05.350" v="27"/>
        <pc:sldMkLst>
          <pc:docMk/>
          <pc:sldMk cId="2601384674" sldId="2420"/>
        </pc:sldMkLst>
        <pc:picChg chg="add del mod">
          <ac:chgData name="Ana Isabel Silla Cortes" userId="S::asillaco@emeal.nttdata.com::b546b5c1-2aeb-468b-a361-4830835db4b0" providerId="AD" clId="Web-{F6E87CED-7BC0-4910-93D0-B35EAA94C1A8}" dt="2022-04-29T08:56:17.880" v="1"/>
          <ac:picMkLst>
            <pc:docMk/>
            <pc:sldMk cId="2601384674" sldId="2420"/>
            <ac:picMk id="2" creationId="{A0DFAD49-ABAB-C8D9-BFAF-ED17270A33EA}"/>
          </ac:picMkLst>
        </pc:picChg>
        <pc:picChg chg="add mod">
          <ac:chgData name="Ana Isabel Silla Cortes" userId="S::asillaco@emeal.nttdata.com::b546b5c1-2aeb-468b-a361-4830835db4b0" providerId="AD" clId="Web-{F6E87CED-7BC0-4910-93D0-B35EAA94C1A8}" dt="2022-04-29T08:56:52.522" v="4" actId="1076"/>
          <ac:picMkLst>
            <pc:docMk/>
            <pc:sldMk cId="2601384674" sldId="2420"/>
            <ac:picMk id="4" creationId="{A6B1C5A7-3553-4B98-4CB7-DF0FE5C5331C}"/>
          </ac:picMkLst>
        </pc:picChg>
        <pc:picChg chg="mod">
          <ac:chgData name="Ana Isabel Silla Cortes" userId="S::asillaco@emeal.nttdata.com::b546b5c1-2aeb-468b-a361-4830835db4b0" providerId="AD" clId="Web-{F6E87CED-7BC0-4910-93D0-B35EAA94C1A8}" dt="2022-04-29T09:11:05.350" v="27"/>
          <ac:picMkLst>
            <pc:docMk/>
            <pc:sldMk cId="2601384674" sldId="2420"/>
            <ac:picMk id="9" creationId="{AC8A000E-C467-B73A-211C-EA42513E36C9}"/>
          </ac:picMkLst>
        </pc:picChg>
      </pc:sldChg>
      <pc:sldChg chg="addSp delSp modSp">
        <pc:chgData name="Ana Isabel Silla Cortes" userId="S::asillaco@emeal.nttdata.com::b546b5c1-2aeb-468b-a361-4830835db4b0" providerId="AD" clId="Web-{F6E87CED-7BC0-4910-93D0-B35EAA94C1A8}" dt="2022-04-29T09:11:41.835" v="29" actId="20577"/>
        <pc:sldMkLst>
          <pc:docMk/>
          <pc:sldMk cId="2237554101" sldId="2421"/>
        </pc:sldMkLst>
        <pc:spChg chg="mod">
          <ac:chgData name="Ana Isabel Silla Cortes" userId="S::asillaco@emeal.nttdata.com::b546b5c1-2aeb-468b-a361-4830835db4b0" providerId="AD" clId="Web-{F6E87CED-7BC0-4910-93D0-B35EAA94C1A8}" dt="2022-04-29T09:11:41.835" v="29" actId="20577"/>
          <ac:spMkLst>
            <pc:docMk/>
            <pc:sldMk cId="2237554101" sldId="2421"/>
            <ac:spMk id="28" creationId="{DD453CE2-6FED-4720-8043-DBD1D2185AE1}"/>
          </ac:spMkLst>
        </pc:spChg>
        <pc:picChg chg="add del mod">
          <ac:chgData name="Ana Isabel Silla Cortes" userId="S::asillaco@emeal.nttdata.com::b546b5c1-2aeb-468b-a361-4830835db4b0" providerId="AD" clId="Web-{F6E87CED-7BC0-4910-93D0-B35EAA94C1A8}" dt="2022-04-29T09:09:03.348" v="10"/>
          <ac:picMkLst>
            <pc:docMk/>
            <pc:sldMk cId="2237554101" sldId="2421"/>
            <ac:picMk id="7" creationId="{867FA075-4B0B-1631-3D17-64EE7E1D3293}"/>
          </ac:picMkLst>
        </pc:picChg>
        <pc:picChg chg="add del mod">
          <ac:chgData name="Ana Isabel Silla Cortes" userId="S::asillaco@emeal.nttdata.com::b546b5c1-2aeb-468b-a361-4830835db4b0" providerId="AD" clId="Web-{F6E87CED-7BC0-4910-93D0-B35EAA94C1A8}" dt="2022-04-29T09:08:59.004" v="9"/>
          <ac:picMkLst>
            <pc:docMk/>
            <pc:sldMk cId="2237554101" sldId="2421"/>
            <ac:picMk id="9" creationId="{9BC0EE5A-D37F-ED96-ED6C-675682ACA053}"/>
          </ac:picMkLst>
        </pc:picChg>
        <pc:picChg chg="add del mod">
          <ac:chgData name="Ana Isabel Silla Cortes" userId="S::asillaco@emeal.nttdata.com::b546b5c1-2aeb-468b-a361-4830835db4b0" providerId="AD" clId="Web-{F6E87CED-7BC0-4910-93D0-B35EAA94C1A8}" dt="2022-04-29T09:09:19.192" v="12"/>
          <ac:picMkLst>
            <pc:docMk/>
            <pc:sldMk cId="2237554101" sldId="2421"/>
            <ac:picMk id="10" creationId="{0A2D9B5A-516C-F405-196B-16B27EC3D6DF}"/>
          </ac:picMkLst>
        </pc:picChg>
        <pc:picChg chg="add">
          <ac:chgData name="Ana Isabel Silla Cortes" userId="S::asillaco@emeal.nttdata.com::b546b5c1-2aeb-468b-a361-4830835db4b0" providerId="AD" clId="Web-{F6E87CED-7BC0-4910-93D0-B35EAA94C1A8}" dt="2022-04-29T09:10:01.083" v="20"/>
          <ac:picMkLst>
            <pc:docMk/>
            <pc:sldMk cId="2237554101" sldId="2421"/>
            <ac:picMk id="11" creationId="{41690819-A95C-98E1-7780-568689E6B95B}"/>
          </ac:picMkLst>
        </pc:picChg>
      </pc:sldChg>
      <pc:sldChg chg="ord">
        <pc:chgData name="Ana Isabel Silla Cortes" userId="S::asillaco@emeal.nttdata.com::b546b5c1-2aeb-468b-a361-4830835db4b0" providerId="AD" clId="Web-{F6E87CED-7BC0-4910-93D0-B35EAA94C1A8}" dt="2022-04-29T09:12:44.446" v="45"/>
        <pc:sldMkLst>
          <pc:docMk/>
          <pc:sldMk cId="2891543704" sldId="2422"/>
        </pc:sldMkLst>
      </pc:sldChg>
      <pc:sldChg chg="modSp">
        <pc:chgData name="Ana Isabel Silla Cortes" userId="S::asillaco@emeal.nttdata.com::b546b5c1-2aeb-468b-a361-4830835db4b0" providerId="AD" clId="Web-{F6E87CED-7BC0-4910-93D0-B35EAA94C1A8}" dt="2022-04-29T09:17:20.279" v="110" actId="20577"/>
        <pc:sldMkLst>
          <pc:docMk/>
          <pc:sldMk cId="3290642412" sldId="2425"/>
        </pc:sldMkLst>
        <pc:spChg chg="mod">
          <ac:chgData name="Ana Isabel Silla Cortes" userId="S::asillaco@emeal.nttdata.com::b546b5c1-2aeb-468b-a361-4830835db4b0" providerId="AD" clId="Web-{F6E87CED-7BC0-4910-93D0-B35EAA94C1A8}" dt="2022-04-29T09:17:20.279" v="110" actId="20577"/>
          <ac:spMkLst>
            <pc:docMk/>
            <pc:sldMk cId="3290642412" sldId="2425"/>
            <ac:spMk id="2" creationId="{8CEBF40D-5339-40B5-5760-2FA978F45DB0}"/>
          </ac:spMkLst>
        </pc:spChg>
        <pc:picChg chg="mod">
          <ac:chgData name="Ana Isabel Silla Cortes" userId="S::asillaco@emeal.nttdata.com::b546b5c1-2aeb-468b-a361-4830835db4b0" providerId="AD" clId="Web-{F6E87CED-7BC0-4910-93D0-B35EAA94C1A8}" dt="2022-04-29T09:10:31.084" v="26" actId="14100"/>
          <ac:picMkLst>
            <pc:docMk/>
            <pc:sldMk cId="3290642412" sldId="2425"/>
            <ac:picMk id="5" creationId="{52C7957F-77E1-0A20-6BA3-FF0D2A9BF629}"/>
          </ac:picMkLst>
        </pc:picChg>
      </pc:sldChg>
      <pc:sldChg chg="addSp delSp modSp del mod setBg">
        <pc:chgData name="Ana Isabel Silla Cortes" userId="S::asillaco@emeal.nttdata.com::b546b5c1-2aeb-468b-a361-4830835db4b0" providerId="AD" clId="Web-{F6E87CED-7BC0-4910-93D0-B35EAA94C1A8}" dt="2022-04-29T09:10:07.427" v="22"/>
        <pc:sldMkLst>
          <pc:docMk/>
          <pc:sldMk cId="1959058797" sldId="2426"/>
        </pc:sldMkLst>
        <pc:spChg chg="add del mod">
          <ac:chgData name="Ana Isabel Silla Cortes" userId="S::asillaco@emeal.nttdata.com::b546b5c1-2aeb-468b-a361-4830835db4b0" providerId="AD" clId="Web-{F6E87CED-7BC0-4910-93D0-B35EAA94C1A8}" dt="2022-04-29T09:09:37.552" v="18"/>
          <ac:spMkLst>
            <pc:docMk/>
            <pc:sldMk cId="1959058797" sldId="2426"/>
            <ac:spMk id="2" creationId="{AD9D3FF5-58BD-8B5A-38F4-0A3148EDBB4D}"/>
          </ac:spMkLst>
        </pc:spChg>
        <pc:spChg chg="del">
          <ac:chgData name="Ana Isabel Silla Cortes" userId="S::asillaco@emeal.nttdata.com::b546b5c1-2aeb-468b-a361-4830835db4b0" providerId="AD" clId="Web-{F6E87CED-7BC0-4910-93D0-B35EAA94C1A8}" dt="2022-04-29T09:09:23.208" v="13"/>
          <ac:spMkLst>
            <pc:docMk/>
            <pc:sldMk cId="1959058797" sldId="2426"/>
            <ac:spMk id="3" creationId="{63622577-10AE-03A7-5C56-8F353ED9B4CA}"/>
          </ac:spMkLst>
        </pc:spChg>
        <pc:spChg chg="mod">
          <ac:chgData name="Ana Isabel Silla Cortes" userId="S::asillaco@emeal.nttdata.com::b546b5c1-2aeb-468b-a361-4830835db4b0" providerId="AD" clId="Web-{F6E87CED-7BC0-4910-93D0-B35EAA94C1A8}" dt="2022-04-29T09:09:37.552" v="18"/>
          <ac:spMkLst>
            <pc:docMk/>
            <pc:sldMk cId="1959058797" sldId="2426"/>
            <ac:spMk id="4" creationId="{D14C986F-365B-6CA9-30E4-9B13636C98F5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5.239" v="15"/>
          <ac:spMkLst>
            <pc:docMk/>
            <pc:sldMk cId="1959058797" sldId="2426"/>
            <ac:spMk id="9" creationId="{B7F086A7-6496-EABD-0D82-A40218FEA208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7.552" v="17"/>
          <ac:spMkLst>
            <pc:docMk/>
            <pc:sldMk cId="1959058797" sldId="2426"/>
            <ac:spMk id="10" creationId="{F3060C83-F051-4F0E-ABAD-AA0DFC48B218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5.239" v="15"/>
          <ac:spMkLst>
            <pc:docMk/>
            <pc:sldMk cId="1959058797" sldId="2426"/>
            <ac:spMk id="12" creationId="{2B566528-1B12-4246-9431-5C2D7D081168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7.552" v="17"/>
          <ac:spMkLst>
            <pc:docMk/>
            <pc:sldMk cId="1959058797" sldId="2426"/>
            <ac:spMk id="16" creationId="{3783CA14-24A1-485C-8B30-D6A5D87987AD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7.552" v="17"/>
          <ac:spMkLst>
            <pc:docMk/>
            <pc:sldMk cId="1959058797" sldId="2426"/>
            <ac:spMk id="20" creationId="{FF9F2414-84E8-453E-B1F3-389FDE8192D9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7.552" v="17"/>
          <ac:spMkLst>
            <pc:docMk/>
            <pc:sldMk cId="1959058797" sldId="2426"/>
            <ac:spMk id="22" creationId="{3ECA69A1-7536-43AC-85EF-C7106179F5ED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7.552" v="17"/>
          <ac:spMkLst>
            <pc:docMk/>
            <pc:sldMk cId="1959058797" sldId="2426"/>
            <ac:spMk id="23" creationId="{83C98ABE-055B-441F-B07E-44F97F083C39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7.552" v="17"/>
          <ac:spMkLst>
            <pc:docMk/>
            <pc:sldMk cId="1959058797" sldId="2426"/>
            <ac:spMk id="24" creationId="{29FDB030-9B49-4CED-8CCD-4D99382388AC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09:37.552" v="17"/>
          <ac:spMkLst>
            <pc:docMk/>
            <pc:sldMk cId="1959058797" sldId="2426"/>
            <ac:spMk id="25" creationId="{9A97C86A-04D6-40F7-AE84-31AB43E6A846}"/>
          </ac:spMkLst>
        </pc:spChg>
        <pc:grpChg chg="add del">
          <ac:chgData name="Ana Isabel Silla Cortes" userId="S::asillaco@emeal.nttdata.com::b546b5c1-2aeb-468b-a361-4830835db4b0" providerId="AD" clId="Web-{F6E87CED-7BC0-4910-93D0-B35EAA94C1A8}" dt="2022-04-29T09:09:35.239" v="15"/>
          <ac:grpSpMkLst>
            <pc:docMk/>
            <pc:sldMk cId="1959058797" sldId="2426"/>
            <ac:grpSpMk id="14" creationId="{828A5161-06F1-46CF-8AD7-844680A59E13}"/>
          </ac:grpSpMkLst>
        </pc:grpChg>
        <pc:grpChg chg="add del">
          <ac:chgData name="Ana Isabel Silla Cortes" userId="S::asillaco@emeal.nttdata.com::b546b5c1-2aeb-468b-a361-4830835db4b0" providerId="AD" clId="Web-{F6E87CED-7BC0-4910-93D0-B35EAA94C1A8}" dt="2022-04-29T09:09:35.239" v="15"/>
          <ac:grpSpMkLst>
            <pc:docMk/>
            <pc:sldMk cId="1959058797" sldId="2426"/>
            <ac:grpSpMk id="18" creationId="{5995D10D-E9C9-47DB-AE7E-801FEF38F5C9}"/>
          </ac:grpSpMkLst>
        </pc:grpChg>
        <pc:picChg chg="add mod ord">
          <ac:chgData name="Ana Isabel Silla Cortes" userId="S::asillaco@emeal.nttdata.com::b546b5c1-2aeb-468b-a361-4830835db4b0" providerId="AD" clId="Web-{F6E87CED-7BC0-4910-93D0-B35EAA94C1A8}" dt="2022-04-29T09:09:37.552" v="18"/>
          <ac:picMkLst>
            <pc:docMk/>
            <pc:sldMk cId="1959058797" sldId="2426"/>
            <ac:picMk id="5" creationId="{8F870C75-8017-8B85-FE4A-B15209264206}"/>
          </ac:picMkLst>
        </pc:picChg>
      </pc:sldChg>
      <pc:sldChg chg="delSp modSp add replId">
        <pc:chgData name="Ana Isabel Silla Cortes" userId="S::asillaco@emeal.nttdata.com::b546b5c1-2aeb-468b-a361-4830835db4b0" providerId="AD" clId="Web-{F6E87CED-7BC0-4910-93D0-B35EAA94C1A8}" dt="2022-04-29T09:12:21.961" v="42" actId="20577"/>
        <pc:sldMkLst>
          <pc:docMk/>
          <pc:sldMk cId="3419713796" sldId="2426"/>
        </pc:sldMkLst>
        <pc:spChg chg="mod">
          <ac:chgData name="Ana Isabel Silla Cortes" userId="S::asillaco@emeal.nttdata.com::b546b5c1-2aeb-468b-a361-4830835db4b0" providerId="AD" clId="Web-{F6E87CED-7BC0-4910-93D0-B35EAA94C1A8}" dt="2022-04-29T09:12:21.961" v="42" actId="20577"/>
          <ac:spMkLst>
            <pc:docMk/>
            <pc:sldMk cId="3419713796" sldId="2426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F6E87CED-7BC0-4910-93D0-B35EAA94C1A8}" dt="2022-04-29T09:11:49.945" v="31"/>
          <ac:picMkLst>
            <pc:docMk/>
            <pc:sldMk cId="3419713796" sldId="2426"/>
            <ac:picMk id="11" creationId="{41690819-A95C-98E1-7780-568689E6B95B}"/>
          </ac:picMkLst>
        </pc:picChg>
      </pc:sldChg>
      <pc:sldChg chg="add del replId">
        <pc:chgData name="Ana Isabel Silla Cortes" userId="S::asillaco@emeal.nttdata.com::b546b5c1-2aeb-468b-a361-4830835db4b0" providerId="AD" clId="Web-{F6E87CED-7BC0-4910-93D0-B35EAA94C1A8}" dt="2022-04-29T09:10:05.224" v="21"/>
        <pc:sldMkLst>
          <pc:docMk/>
          <pc:sldMk cId="2086501457" sldId="2427"/>
        </pc:sldMkLst>
      </pc:sldChg>
      <pc:sldChg chg="addSp delSp modSp add replId">
        <pc:chgData name="Ana Isabel Silla Cortes" userId="S::asillaco@emeal.nttdata.com::b546b5c1-2aeb-468b-a361-4830835db4b0" providerId="AD" clId="Web-{F6E87CED-7BC0-4910-93D0-B35EAA94C1A8}" dt="2022-04-29T09:17:49.123" v="113" actId="14100"/>
        <pc:sldMkLst>
          <pc:docMk/>
          <pc:sldMk cId="2176634170" sldId="2427"/>
        </pc:sldMkLst>
        <pc:spChg chg="add del">
          <ac:chgData name="Ana Isabel Silla Cortes" userId="S::asillaco@emeal.nttdata.com::b546b5c1-2aeb-468b-a361-4830835db4b0" providerId="AD" clId="Web-{F6E87CED-7BC0-4910-93D0-B35EAA94C1A8}" dt="2022-04-29T09:13:27.087" v="54"/>
          <ac:spMkLst>
            <pc:docMk/>
            <pc:sldMk cId="2176634170" sldId="2427"/>
            <ac:spMk id="2" creationId="{29B6684F-685A-827C-A802-6AD9EC9900E0}"/>
          </ac:spMkLst>
        </pc:spChg>
        <pc:spChg chg="add mod">
          <ac:chgData name="Ana Isabel Silla Cortes" userId="S::asillaco@emeal.nttdata.com::b546b5c1-2aeb-468b-a361-4830835db4b0" providerId="AD" clId="Web-{F6E87CED-7BC0-4910-93D0-B35EAA94C1A8}" dt="2022-04-29T09:17:49.123" v="113" actId="14100"/>
          <ac:spMkLst>
            <pc:docMk/>
            <pc:sldMk cId="2176634170" sldId="2427"/>
            <ac:spMk id="6" creationId="{9D23B107-81BA-4D42-5890-19ACDDEEE511}"/>
          </ac:spMkLst>
        </pc:spChg>
        <pc:spChg chg="add del">
          <ac:chgData name="Ana Isabel Silla Cortes" userId="S::asillaco@emeal.nttdata.com::b546b5c1-2aeb-468b-a361-4830835db4b0" providerId="AD" clId="Web-{F6E87CED-7BC0-4910-93D0-B35EAA94C1A8}" dt="2022-04-29T09:14:40.057" v="67"/>
          <ac:spMkLst>
            <pc:docMk/>
            <pc:sldMk cId="2176634170" sldId="2427"/>
            <ac:spMk id="7" creationId="{CB8E1396-9805-B1A7-37F1-05A52CEEDEA5}"/>
          </ac:spMkLst>
        </pc:spChg>
        <pc:spChg chg="mod">
          <ac:chgData name="Ana Isabel Silla Cortes" userId="S::asillaco@emeal.nttdata.com::b546b5c1-2aeb-468b-a361-4830835db4b0" providerId="AD" clId="Web-{F6E87CED-7BC0-4910-93D0-B35EAA94C1A8}" dt="2022-04-29T09:17:40.670" v="112" actId="14100"/>
          <ac:spMkLst>
            <pc:docMk/>
            <pc:sldMk cId="2176634170" sldId="2427"/>
            <ac:spMk id="28" creationId="{DD453CE2-6FED-4720-8043-DBD1D2185AE1}"/>
          </ac:spMkLst>
        </pc:spChg>
        <pc:picChg chg="add del mod">
          <ac:chgData name="Ana Isabel Silla Cortes" userId="S::asillaco@emeal.nttdata.com::b546b5c1-2aeb-468b-a361-4830835db4b0" providerId="AD" clId="Web-{F6E87CED-7BC0-4910-93D0-B35EAA94C1A8}" dt="2022-04-29T09:13:23.415" v="53"/>
          <ac:picMkLst>
            <pc:docMk/>
            <pc:sldMk cId="2176634170" sldId="2427"/>
            <ac:picMk id="4" creationId="{9D287DD2-A08D-3555-298A-850D9B4039E2}"/>
          </ac:picMkLst>
        </pc:picChg>
        <pc:picChg chg="del">
          <ac:chgData name="Ana Isabel Silla Cortes" userId="S::asillaco@emeal.nttdata.com::b546b5c1-2aeb-468b-a361-4830835db4b0" providerId="AD" clId="Web-{F6E87CED-7BC0-4910-93D0-B35EAA94C1A8}" dt="2022-04-29T09:13:01.368" v="50"/>
          <ac:picMkLst>
            <pc:docMk/>
            <pc:sldMk cId="2176634170" sldId="2427"/>
            <ac:picMk id="11" creationId="{41690819-A95C-98E1-7780-568689E6B95B}"/>
          </ac:picMkLst>
        </pc:picChg>
      </pc:sldChg>
      <pc:sldChg chg="add del replId">
        <pc:chgData name="Ana Isabel Silla Cortes" userId="S::asillaco@emeal.nttdata.com::b546b5c1-2aeb-468b-a361-4830835db4b0" providerId="AD" clId="Web-{F6E87CED-7BC0-4910-93D0-B35EAA94C1A8}" dt="2022-04-29T09:12:54.774" v="48"/>
        <pc:sldMkLst>
          <pc:docMk/>
          <pc:sldMk cId="4087231974" sldId="2427"/>
        </pc:sldMkLst>
      </pc:sldChg>
      <pc:sldChg chg="new">
        <pc:chgData name="Ana Isabel Silla Cortes" userId="S::asillaco@emeal.nttdata.com::b546b5c1-2aeb-468b-a361-4830835db4b0" providerId="AD" clId="Web-{F6E87CED-7BC0-4910-93D0-B35EAA94C1A8}" dt="2022-04-29T09:14:06.744" v="59"/>
        <pc:sldMkLst>
          <pc:docMk/>
          <pc:sldMk cId="1052846755" sldId="2428"/>
        </pc:sldMkLst>
      </pc:sldChg>
      <pc:sldChg chg="add del replId">
        <pc:chgData name="Ana Isabel Silla Cortes" userId="S::asillaco@emeal.nttdata.com::b546b5c1-2aeb-468b-a361-4830835db4b0" providerId="AD" clId="Web-{F6E87CED-7BC0-4910-93D0-B35EAA94C1A8}" dt="2022-04-29T09:12:51.899" v="47"/>
        <pc:sldMkLst>
          <pc:docMk/>
          <pc:sldMk cId="1141460330" sldId="2428"/>
        </pc:sldMkLst>
      </pc:sldChg>
      <pc:sldChg chg="add del replId">
        <pc:chgData name="Ana Isabel Silla Cortes" userId="S::asillaco@emeal.nttdata.com::b546b5c1-2aeb-468b-a361-4830835db4b0" providerId="AD" clId="Web-{F6E87CED-7BC0-4910-93D0-B35EAA94C1A8}" dt="2022-04-29T09:13:53.088" v="58"/>
        <pc:sldMkLst>
          <pc:docMk/>
          <pc:sldMk cId="2014610316" sldId="2428"/>
        </pc:sldMkLst>
      </pc:sldChg>
      <pc:sldChg chg="add del replId">
        <pc:chgData name="Ana Isabel Silla Cortes" userId="S::asillaco@emeal.nttdata.com::b546b5c1-2aeb-468b-a361-4830835db4b0" providerId="AD" clId="Web-{F6E87CED-7BC0-4910-93D0-B35EAA94C1A8}" dt="2022-04-29T09:13:48.541" v="57"/>
        <pc:sldMkLst>
          <pc:docMk/>
          <pc:sldMk cId="748481361" sldId="2429"/>
        </pc:sldMkLst>
      </pc:sldChg>
    </pc:docChg>
  </pc:docChgLst>
  <pc:docChgLst>
    <pc:chgData name="Ana Isabel Silla Cortes" userId="S::asillaco@emeal.nttdata.com::b546b5c1-2aeb-468b-a361-4830835db4b0" providerId="AD" clId="Web-{A1731DD1-E0F1-EDFF-F2C9-B525C7DF939E}"/>
    <pc:docChg chg="addSld delSld modSld sldOrd modSection">
      <pc:chgData name="Ana Isabel Silla Cortes" userId="S::asillaco@emeal.nttdata.com::b546b5c1-2aeb-468b-a361-4830835db4b0" providerId="AD" clId="Web-{A1731DD1-E0F1-EDFF-F2C9-B525C7DF939E}" dt="2022-04-29T09:07:35.153" v="81"/>
      <pc:docMkLst>
        <pc:docMk/>
      </pc:docMkLst>
      <pc:sldChg chg="delSp">
        <pc:chgData name="Ana Isabel Silla Cortes" userId="S::asillaco@emeal.nttdata.com::b546b5c1-2aeb-468b-a361-4830835db4b0" providerId="AD" clId="Web-{A1731DD1-E0F1-EDFF-F2C9-B525C7DF939E}" dt="2022-04-29T08:55:33.812" v="0"/>
        <pc:sldMkLst>
          <pc:docMk/>
          <pc:sldMk cId="1592699464" sldId="1483"/>
        </pc:sldMkLst>
        <pc:picChg chg="del">
          <ac:chgData name="Ana Isabel Silla Cortes" userId="S::asillaco@emeal.nttdata.com::b546b5c1-2aeb-468b-a361-4830835db4b0" providerId="AD" clId="Web-{A1731DD1-E0F1-EDFF-F2C9-B525C7DF939E}" dt="2022-04-29T08:55:33.812" v="0"/>
          <ac:picMkLst>
            <pc:docMk/>
            <pc:sldMk cId="1592699464" sldId="1483"/>
            <ac:picMk id="100" creationId="{CE5A209B-3B75-4388-8839-3DDB58BF6D21}"/>
          </ac:picMkLst>
        </pc:picChg>
      </pc:sldChg>
      <pc:sldChg chg="addSp delSp modSp">
        <pc:chgData name="Ana Isabel Silla Cortes" userId="S::asillaco@emeal.nttdata.com::b546b5c1-2aeb-468b-a361-4830835db4b0" providerId="AD" clId="Web-{A1731DD1-E0F1-EDFF-F2C9-B525C7DF939E}" dt="2022-04-29T09:06:13.992" v="59" actId="14100"/>
        <pc:sldMkLst>
          <pc:docMk/>
          <pc:sldMk cId="2601384674" sldId="2420"/>
        </pc:sldMkLst>
        <pc:picChg chg="del">
          <ac:chgData name="Ana Isabel Silla Cortes" userId="S::asillaco@emeal.nttdata.com::b546b5c1-2aeb-468b-a361-4830835db4b0" providerId="AD" clId="Web-{A1731DD1-E0F1-EDFF-F2C9-B525C7DF939E}" dt="2022-04-29T08:57:55.680" v="5"/>
          <ac:picMkLst>
            <pc:docMk/>
            <pc:sldMk cId="2601384674" sldId="2420"/>
            <ac:picMk id="4" creationId="{A6B1C5A7-3553-4B98-4CB7-DF0FE5C5331C}"/>
          </ac:picMkLst>
        </pc:picChg>
        <pc:picChg chg="add del mod">
          <ac:chgData name="Ana Isabel Silla Cortes" userId="S::asillaco@emeal.nttdata.com::b546b5c1-2aeb-468b-a361-4830835db4b0" providerId="AD" clId="Web-{A1731DD1-E0F1-EDFF-F2C9-B525C7DF939E}" dt="2022-04-29T08:57:49.789" v="4"/>
          <ac:picMkLst>
            <pc:docMk/>
            <pc:sldMk cId="2601384674" sldId="2420"/>
            <ac:picMk id="6" creationId="{2FC51D66-7442-A48E-C1AC-39779FF8234D}"/>
          </ac:picMkLst>
        </pc:picChg>
        <pc:picChg chg="add mod">
          <ac:chgData name="Ana Isabel Silla Cortes" userId="S::asillaco@emeal.nttdata.com::b546b5c1-2aeb-468b-a361-4830835db4b0" providerId="AD" clId="Web-{A1731DD1-E0F1-EDFF-F2C9-B525C7DF939E}" dt="2022-04-29T09:05:48.381" v="55" actId="1076"/>
          <ac:picMkLst>
            <pc:docMk/>
            <pc:sldMk cId="2601384674" sldId="2420"/>
            <ac:picMk id="7" creationId="{71FD651D-50C7-E718-155E-4B4BDDC07A9C}"/>
          </ac:picMkLst>
        </pc:picChg>
        <pc:picChg chg="add mod">
          <ac:chgData name="Ana Isabel Silla Cortes" userId="S::asillaco@emeal.nttdata.com::b546b5c1-2aeb-468b-a361-4830835db4b0" providerId="AD" clId="Web-{A1731DD1-E0F1-EDFF-F2C9-B525C7DF939E}" dt="2022-04-29T09:06:13.992" v="59" actId="14100"/>
          <ac:picMkLst>
            <pc:docMk/>
            <pc:sldMk cId="2601384674" sldId="2420"/>
            <ac:picMk id="9" creationId="{AC8A000E-C467-B73A-211C-EA42513E36C9}"/>
          </ac:picMkLst>
        </pc:picChg>
      </pc:sldChg>
      <pc:sldChg chg="addSp delSp modSp">
        <pc:chgData name="Ana Isabel Silla Cortes" userId="S::asillaco@emeal.nttdata.com::b546b5c1-2aeb-468b-a361-4830835db4b0" providerId="AD" clId="Web-{A1731DD1-E0F1-EDFF-F2C9-B525C7DF939E}" dt="2022-04-29T09:07:35.153" v="81"/>
        <pc:sldMkLst>
          <pc:docMk/>
          <pc:sldMk cId="2237554101" sldId="2421"/>
        </pc:sldMkLst>
        <pc:spChg chg="add del mod">
          <ac:chgData name="Ana Isabel Silla Cortes" userId="S::asillaco@emeal.nttdata.com::b546b5c1-2aeb-468b-a361-4830835db4b0" providerId="AD" clId="Web-{A1731DD1-E0F1-EDFF-F2C9-B525C7DF939E}" dt="2022-04-29T09:07:25.418" v="77"/>
          <ac:spMkLst>
            <pc:docMk/>
            <pc:sldMk cId="2237554101" sldId="2421"/>
            <ac:spMk id="4" creationId="{D33F5A95-5493-131E-6CA2-27B569F3586D}"/>
          </ac:spMkLst>
        </pc:spChg>
        <pc:spChg chg="add del mod">
          <ac:chgData name="Ana Isabel Silla Cortes" userId="S::asillaco@emeal.nttdata.com::b546b5c1-2aeb-468b-a361-4830835db4b0" providerId="AD" clId="Web-{A1731DD1-E0F1-EDFF-F2C9-B525C7DF939E}" dt="2022-04-29T09:07:35.153" v="81"/>
          <ac:spMkLst>
            <pc:docMk/>
            <pc:sldMk cId="2237554101" sldId="2421"/>
            <ac:spMk id="6" creationId="{C4D3425F-CD85-1733-44A4-47B379D1E577}"/>
          </ac:spMkLst>
        </pc:spChg>
        <pc:spChg chg="mod">
          <ac:chgData name="Ana Isabel Silla Cortes" userId="S::asillaco@emeal.nttdata.com::b546b5c1-2aeb-468b-a361-4830835db4b0" providerId="AD" clId="Web-{A1731DD1-E0F1-EDFF-F2C9-B525C7DF939E}" dt="2022-04-29T09:07:05.073" v="71" actId="20577"/>
          <ac:spMkLst>
            <pc:docMk/>
            <pc:sldMk cId="2237554101" sldId="2421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A1731DD1-E0F1-EDFF-F2C9-B525C7DF939E}" dt="2022-04-29T09:05:04.737" v="53"/>
          <ac:picMkLst>
            <pc:docMk/>
            <pc:sldMk cId="2237554101" sldId="2421"/>
            <ac:picMk id="2" creationId="{00000000-0000-0000-0000-000000000000}"/>
          </ac:picMkLst>
        </pc:picChg>
      </pc:sldChg>
      <pc:sldChg chg="addSp delSp modSp new del">
        <pc:chgData name="Ana Isabel Silla Cortes" userId="S::asillaco@emeal.nttdata.com::b546b5c1-2aeb-468b-a361-4830835db4b0" providerId="AD" clId="Web-{A1731DD1-E0F1-EDFF-F2C9-B525C7DF939E}" dt="2022-04-29T08:59:08.497" v="7"/>
        <pc:sldMkLst>
          <pc:docMk/>
          <pc:sldMk cId="1240901928" sldId="2425"/>
        </pc:sldMkLst>
        <pc:spChg chg="del">
          <ac:chgData name="Ana Isabel Silla Cortes" userId="S::asillaco@emeal.nttdata.com::b546b5c1-2aeb-468b-a361-4830835db4b0" providerId="AD" clId="Web-{A1731DD1-E0F1-EDFF-F2C9-B525C7DF939E}" dt="2022-04-29T08:57:33.663" v="3"/>
          <ac:spMkLst>
            <pc:docMk/>
            <pc:sldMk cId="1240901928" sldId="2425"/>
            <ac:spMk id="3" creationId="{E28C03E7-21B1-DAA0-D6AA-EA917FD445E1}"/>
          </ac:spMkLst>
        </pc:spChg>
        <pc:picChg chg="add mod ord">
          <ac:chgData name="Ana Isabel Silla Cortes" userId="S::asillaco@emeal.nttdata.com::b546b5c1-2aeb-468b-a361-4830835db4b0" providerId="AD" clId="Web-{A1731DD1-E0F1-EDFF-F2C9-B525C7DF939E}" dt="2022-04-29T08:57:33.663" v="3"/>
          <ac:picMkLst>
            <pc:docMk/>
            <pc:sldMk cId="1240901928" sldId="2425"/>
            <ac:picMk id="5" creationId="{EA064978-0F48-5DC1-48E1-6296ADFFD0EC}"/>
          </ac:picMkLst>
        </pc:picChg>
      </pc:sldChg>
      <pc:sldChg chg="addSp delSp modSp add del replId">
        <pc:chgData name="Ana Isabel Silla Cortes" userId="S::asillaco@emeal.nttdata.com::b546b5c1-2aeb-468b-a361-4830835db4b0" providerId="AD" clId="Web-{A1731DD1-E0F1-EDFF-F2C9-B525C7DF939E}" dt="2022-04-29T09:01:49.491" v="22"/>
        <pc:sldMkLst>
          <pc:docMk/>
          <pc:sldMk cId="1500663499" sldId="2425"/>
        </pc:sldMkLst>
        <pc:picChg chg="add del mod">
          <ac:chgData name="Ana Isabel Silla Cortes" userId="S::asillaco@emeal.nttdata.com::b546b5c1-2aeb-468b-a361-4830835db4b0" providerId="AD" clId="Web-{A1731DD1-E0F1-EDFF-F2C9-B525C7DF939E}" dt="2022-04-29T09:01:43.256" v="21"/>
          <ac:picMkLst>
            <pc:docMk/>
            <pc:sldMk cId="1500663499" sldId="2425"/>
            <ac:picMk id="2" creationId="{F51911DA-C6D6-79F1-D79A-EAEB57313B32}"/>
          </ac:picMkLst>
        </pc:picChg>
        <pc:picChg chg="del">
          <ac:chgData name="Ana Isabel Silla Cortes" userId="S::asillaco@emeal.nttdata.com::b546b5c1-2aeb-468b-a361-4830835db4b0" providerId="AD" clId="Web-{A1731DD1-E0F1-EDFF-F2C9-B525C7DF939E}" dt="2022-04-29T09:01:29.037" v="18"/>
          <ac:picMkLst>
            <pc:docMk/>
            <pc:sldMk cId="1500663499" sldId="2425"/>
            <ac:picMk id="7" creationId="{71FD651D-50C7-E718-155E-4B4BDDC07A9C}"/>
          </ac:picMkLst>
        </pc:picChg>
        <pc:picChg chg="del">
          <ac:chgData name="Ana Isabel Silla Cortes" userId="S::asillaco@emeal.nttdata.com::b546b5c1-2aeb-468b-a361-4830835db4b0" providerId="AD" clId="Web-{A1731DD1-E0F1-EDFF-F2C9-B525C7DF939E}" dt="2022-04-29T09:01:37.584" v="19"/>
          <ac:picMkLst>
            <pc:docMk/>
            <pc:sldMk cId="1500663499" sldId="2425"/>
            <ac:picMk id="9" creationId="{AC8A000E-C467-B73A-211C-EA42513E36C9}"/>
          </ac:picMkLst>
        </pc:picChg>
      </pc:sldChg>
      <pc:sldChg chg="addSp delSp modSp new ord">
        <pc:chgData name="Ana Isabel Silla Cortes" userId="S::asillaco@emeal.nttdata.com::b546b5c1-2aeb-468b-a361-4830835db4b0" providerId="AD" clId="Web-{A1731DD1-E0F1-EDFF-F2C9-B525C7DF939E}" dt="2022-04-29T09:06:56.088" v="70" actId="20577"/>
        <pc:sldMkLst>
          <pc:docMk/>
          <pc:sldMk cId="3290642412" sldId="2425"/>
        </pc:sldMkLst>
        <pc:spChg chg="mod">
          <ac:chgData name="Ana Isabel Silla Cortes" userId="S::asillaco@emeal.nttdata.com::b546b5c1-2aeb-468b-a361-4830835db4b0" providerId="AD" clId="Web-{A1731DD1-E0F1-EDFF-F2C9-B525C7DF939E}" dt="2022-04-29T09:06:56.088" v="70" actId="20577"/>
          <ac:spMkLst>
            <pc:docMk/>
            <pc:sldMk cId="3290642412" sldId="2425"/>
            <ac:spMk id="2" creationId="{8CEBF40D-5339-40B5-5760-2FA978F45DB0}"/>
          </ac:spMkLst>
        </pc:spChg>
        <pc:spChg chg="del">
          <ac:chgData name="Ana Isabel Silla Cortes" userId="S::asillaco@emeal.nttdata.com::b546b5c1-2aeb-468b-a361-4830835db4b0" providerId="AD" clId="Web-{A1731DD1-E0F1-EDFF-F2C9-B525C7DF939E}" dt="2022-04-29T09:01:59.413" v="25"/>
          <ac:spMkLst>
            <pc:docMk/>
            <pc:sldMk cId="3290642412" sldId="2425"/>
            <ac:spMk id="3" creationId="{B8FF8EF5-F736-1725-08EE-F4DC51F4F4BA}"/>
          </ac:spMkLst>
        </pc:spChg>
        <pc:spChg chg="add del mod">
          <ac:chgData name="Ana Isabel Silla Cortes" userId="S::asillaco@emeal.nttdata.com::b546b5c1-2aeb-468b-a361-4830835db4b0" providerId="AD" clId="Web-{A1731DD1-E0F1-EDFF-F2C9-B525C7DF939E}" dt="2022-04-29T09:03:51.405" v="38"/>
          <ac:spMkLst>
            <pc:docMk/>
            <pc:sldMk cId="3290642412" sldId="2425"/>
            <ac:spMk id="9" creationId="{913642AE-6844-C1B9-AB2B-57E1BC55C35E}"/>
          </ac:spMkLst>
        </pc:spChg>
        <pc:spChg chg="add mod">
          <ac:chgData name="Ana Isabel Silla Cortes" userId="S::asillaco@emeal.nttdata.com::b546b5c1-2aeb-468b-a361-4830835db4b0" providerId="AD" clId="Web-{A1731DD1-E0F1-EDFF-F2C9-B525C7DF939E}" dt="2022-04-29T09:06:33.461" v="60" actId="1076"/>
          <ac:spMkLst>
            <pc:docMk/>
            <pc:sldMk cId="3290642412" sldId="2425"/>
            <ac:spMk id="14" creationId="{71B165B6-8798-541D-AA53-9B065ED23A0B}"/>
          </ac:spMkLst>
        </pc:spChg>
        <pc:picChg chg="add mod ord">
          <ac:chgData name="Ana Isabel Silla Cortes" userId="S::asillaco@emeal.nttdata.com::b546b5c1-2aeb-468b-a361-4830835db4b0" providerId="AD" clId="Web-{A1731DD1-E0F1-EDFF-F2C9-B525C7DF939E}" dt="2022-04-29T09:04:55.284" v="52" actId="1076"/>
          <ac:picMkLst>
            <pc:docMk/>
            <pc:sldMk cId="3290642412" sldId="2425"/>
            <ac:picMk id="5" creationId="{52C7957F-77E1-0A20-6BA3-FF0D2A9BF629}"/>
          </ac:picMkLst>
        </pc:picChg>
        <pc:picChg chg="add del mod">
          <ac:chgData name="Ana Isabel Silla Cortes" userId="S::asillaco@emeal.nttdata.com::b546b5c1-2aeb-468b-a361-4830835db4b0" providerId="AD" clId="Web-{A1731DD1-E0F1-EDFF-F2C9-B525C7DF939E}" dt="2022-04-29T09:02:12.102" v="27"/>
          <ac:picMkLst>
            <pc:docMk/>
            <pc:sldMk cId="3290642412" sldId="2425"/>
            <ac:picMk id="6" creationId="{E01E25D8-548D-61BC-0289-B82B4D18DEE9}"/>
          </ac:picMkLst>
        </pc:picChg>
        <pc:picChg chg="add del mod">
          <ac:chgData name="Ana Isabel Silla Cortes" userId="S::asillaco@emeal.nttdata.com::b546b5c1-2aeb-468b-a361-4830835db4b0" providerId="AD" clId="Web-{A1731DD1-E0F1-EDFF-F2C9-B525C7DF939E}" dt="2022-04-29T09:04:52.143" v="51"/>
          <ac:picMkLst>
            <pc:docMk/>
            <pc:sldMk cId="3290642412" sldId="2425"/>
            <ac:picMk id="7" creationId="{46C3BC19-B8AD-99DA-FF68-023E8EB3BDD5}"/>
          </ac:picMkLst>
        </pc:picChg>
        <pc:picChg chg="add del mod">
          <ac:chgData name="Ana Isabel Silla Cortes" userId="S::asillaco@emeal.nttdata.com::b546b5c1-2aeb-468b-a361-4830835db4b0" providerId="AD" clId="Web-{A1731DD1-E0F1-EDFF-F2C9-B525C7DF939E}" dt="2022-04-29T09:04:49.752" v="50"/>
          <ac:picMkLst>
            <pc:docMk/>
            <pc:sldMk cId="3290642412" sldId="2425"/>
            <ac:picMk id="8" creationId="{A4168CAF-D6AD-3ABD-EB1A-7C4BCC0B818D}"/>
          </ac:picMkLst>
        </pc:picChg>
        <pc:cxnChg chg="add">
          <ac:chgData name="Ana Isabel Silla Cortes" userId="S::asillaco@emeal.nttdata.com::b546b5c1-2aeb-468b-a361-4830835db4b0" providerId="AD" clId="Web-{A1731DD1-E0F1-EDFF-F2C9-B525C7DF939E}" dt="2022-04-29T09:03:47.764" v="37"/>
          <ac:cxnSpMkLst>
            <pc:docMk/>
            <pc:sldMk cId="3290642412" sldId="2425"/>
            <ac:cxnSpMk id="11" creationId="{60806340-9150-7350-3800-EB6563C12605}"/>
          </ac:cxnSpMkLst>
        </pc:cxnChg>
        <pc:cxnChg chg="add del mod">
          <ac:chgData name="Ana Isabel Silla Cortes" userId="S::asillaco@emeal.nttdata.com::b546b5c1-2aeb-468b-a361-4830835db4b0" providerId="AD" clId="Web-{A1731DD1-E0F1-EDFF-F2C9-B525C7DF939E}" dt="2022-04-29T09:04:03.999" v="41"/>
          <ac:cxnSpMkLst>
            <pc:docMk/>
            <pc:sldMk cId="3290642412" sldId="2425"/>
            <ac:cxnSpMk id="13" creationId="{40A11287-F439-3664-8BAB-E0C965D2BAEB}"/>
          </ac:cxnSpMkLst>
        </pc:cxnChg>
      </pc:sldChg>
      <pc:sldChg chg="new">
        <pc:chgData name="Ana Isabel Silla Cortes" userId="S::asillaco@emeal.nttdata.com::b546b5c1-2aeb-468b-a361-4830835db4b0" providerId="AD" clId="Web-{A1731DD1-E0F1-EDFF-F2C9-B525C7DF939E}" dt="2022-04-29T09:07:10.557" v="72"/>
        <pc:sldMkLst>
          <pc:docMk/>
          <pc:sldMk cId="1959058797" sldId="2426"/>
        </pc:sldMkLst>
      </pc:sldChg>
    </pc:docChg>
  </pc:docChgLst>
  <pc:docChgLst>
    <pc:chgData name="Javier Vivas Carlos" userId="S::jvivasca@emeal.nttdata.com::b7e8403b-d7e5-4f09-8c6d-23e90274941f" providerId="AD" clId="Web-{80820227-1FAE-81EC-D4ED-099306D2FD3A}"/>
    <pc:docChg chg="delSld modSld modSection">
      <pc:chgData name="Javier Vivas Carlos" userId="S::jvivasca@emeal.nttdata.com::b7e8403b-d7e5-4f09-8c6d-23e90274941f" providerId="AD" clId="Web-{80820227-1FAE-81EC-D4ED-099306D2FD3A}" dt="2022-01-25T18:18:55.782" v="146" actId="1076"/>
      <pc:docMkLst>
        <pc:docMk/>
      </pc:docMkLst>
      <pc:sldChg chg="modSp">
        <pc:chgData name="Javier Vivas Carlos" userId="S::jvivasca@emeal.nttdata.com::b7e8403b-d7e5-4f09-8c6d-23e90274941f" providerId="AD" clId="Web-{80820227-1FAE-81EC-D4ED-099306D2FD3A}" dt="2022-01-25T18:16:29.482" v="134" actId="20577"/>
        <pc:sldMkLst>
          <pc:docMk/>
          <pc:sldMk cId="1592699464" sldId="1483"/>
        </pc:sldMkLst>
        <pc:spChg chg="mod">
          <ac:chgData name="Javier Vivas Carlos" userId="S::jvivasca@emeal.nttdata.com::b7e8403b-d7e5-4f09-8c6d-23e90274941f" providerId="AD" clId="Web-{80820227-1FAE-81EC-D4ED-099306D2FD3A}" dt="2022-01-25T18:16:29.482" v="134" actId="20577"/>
          <ac:spMkLst>
            <pc:docMk/>
            <pc:sldMk cId="1592699464" sldId="1483"/>
            <ac:spMk id="68" creationId="{B1D65679-B791-3D48-8B47-62CECF7CB297}"/>
          </ac:spMkLst>
        </pc:spChg>
      </pc:sldChg>
      <pc:sldChg chg="del">
        <pc:chgData name="Javier Vivas Carlos" userId="S::jvivasca@emeal.nttdata.com::b7e8403b-d7e5-4f09-8c6d-23e90274941f" providerId="AD" clId="Web-{80820227-1FAE-81EC-D4ED-099306D2FD3A}" dt="2022-01-25T18:12:58.948" v="109"/>
        <pc:sldMkLst>
          <pc:docMk/>
          <pc:sldMk cId="534067487" sldId="1736"/>
        </pc:sldMkLst>
      </pc:sldChg>
      <pc:sldChg chg="modSp">
        <pc:chgData name="Javier Vivas Carlos" userId="S::jvivasca@emeal.nttdata.com::b7e8403b-d7e5-4f09-8c6d-23e90274941f" providerId="AD" clId="Web-{80820227-1FAE-81EC-D4ED-099306D2FD3A}" dt="2022-01-25T18:13:12.963" v="110" actId="20577"/>
        <pc:sldMkLst>
          <pc:docMk/>
          <pc:sldMk cId="2716421226" sldId="1737"/>
        </pc:sldMkLst>
        <pc:spChg chg="mod">
          <ac:chgData name="Javier Vivas Carlos" userId="S::jvivasca@emeal.nttdata.com::b7e8403b-d7e5-4f09-8c6d-23e90274941f" providerId="AD" clId="Web-{80820227-1FAE-81EC-D4ED-099306D2FD3A}" dt="2022-01-25T18:13:12.963" v="110" actId="20577"/>
          <ac:spMkLst>
            <pc:docMk/>
            <pc:sldMk cId="2716421226" sldId="1737"/>
            <ac:spMk id="6" creationId="{14BAA5AF-AC62-264A-9CBB-A655F0583AC0}"/>
          </ac:spMkLst>
        </pc:spChg>
      </pc:sldChg>
      <pc:sldChg chg="addSp">
        <pc:chgData name="Javier Vivas Carlos" userId="S::jvivasca@emeal.nttdata.com::b7e8403b-d7e5-4f09-8c6d-23e90274941f" providerId="AD" clId="Web-{80820227-1FAE-81EC-D4ED-099306D2FD3A}" dt="2022-01-25T18:18:26.359" v="143"/>
        <pc:sldMkLst>
          <pc:docMk/>
          <pc:sldMk cId="2130383488" sldId="2229"/>
        </pc:sldMkLst>
        <pc:spChg chg="add">
          <ac:chgData name="Javier Vivas Carlos" userId="S::jvivasca@emeal.nttdata.com::b7e8403b-d7e5-4f09-8c6d-23e90274941f" providerId="AD" clId="Web-{80820227-1FAE-81EC-D4ED-099306D2FD3A}" dt="2022-01-25T18:18:26.359" v="143"/>
          <ac:spMkLst>
            <pc:docMk/>
            <pc:sldMk cId="2130383488" sldId="2229"/>
            <ac:spMk id="2" creationId="{18CD2734-5E6B-49E5-94CE-42DDCEF98DD5}"/>
          </ac:spMkLst>
        </pc:spChg>
      </pc:sldChg>
      <pc:sldChg chg="modSp">
        <pc:chgData name="Javier Vivas Carlos" userId="S::jvivasca@emeal.nttdata.com::b7e8403b-d7e5-4f09-8c6d-23e90274941f" providerId="AD" clId="Web-{80820227-1FAE-81EC-D4ED-099306D2FD3A}" dt="2022-01-25T17:54:00.006" v="63"/>
        <pc:sldMkLst>
          <pc:docMk/>
          <pc:sldMk cId="744791327" sldId="2287"/>
        </pc:sldMkLst>
        <pc:graphicFrameChg chg="mod modGraphic">
          <ac:chgData name="Javier Vivas Carlos" userId="S::jvivasca@emeal.nttdata.com::b7e8403b-d7e5-4f09-8c6d-23e90274941f" providerId="AD" clId="Web-{80820227-1FAE-81EC-D4ED-099306D2FD3A}" dt="2022-01-25T17:54:00.006" v="63"/>
          <ac:graphicFrameMkLst>
            <pc:docMk/>
            <pc:sldMk cId="744791327" sldId="2287"/>
            <ac:graphicFrameMk id="7" creationId="{794D9CA2-219F-49C4-91A4-E027A1621AD8}"/>
          </ac:graphicFrameMkLst>
        </pc:graphicFrameChg>
      </pc:sldChg>
      <pc:sldChg chg="addSp modSp">
        <pc:chgData name="Javier Vivas Carlos" userId="S::jvivasca@emeal.nttdata.com::b7e8403b-d7e5-4f09-8c6d-23e90274941f" providerId="AD" clId="Web-{80820227-1FAE-81EC-D4ED-099306D2FD3A}" dt="2022-01-25T18:17:13.639" v="138" actId="1076"/>
        <pc:sldMkLst>
          <pc:docMk/>
          <pc:sldMk cId="2312459569" sldId="2294"/>
        </pc:sldMkLst>
        <pc:spChg chg="add mod">
          <ac:chgData name="Javier Vivas Carlos" userId="S::jvivasca@emeal.nttdata.com::b7e8403b-d7e5-4f09-8c6d-23e90274941f" providerId="AD" clId="Web-{80820227-1FAE-81EC-D4ED-099306D2FD3A}" dt="2022-01-25T18:17:13.639" v="138" actId="1076"/>
          <ac:spMkLst>
            <pc:docMk/>
            <pc:sldMk cId="2312459569" sldId="2294"/>
            <ac:spMk id="2" creationId="{27A1F276-026C-41FF-ABA7-01D4545B43ED}"/>
          </ac:spMkLst>
        </pc:spChg>
      </pc:sldChg>
      <pc:sldChg chg="addSp modSp">
        <pc:chgData name="Javier Vivas Carlos" userId="S::jvivasca@emeal.nttdata.com::b7e8403b-d7e5-4f09-8c6d-23e90274941f" providerId="AD" clId="Web-{80820227-1FAE-81EC-D4ED-099306D2FD3A}" dt="2022-01-25T18:16:52.530" v="136" actId="1076"/>
        <pc:sldMkLst>
          <pc:docMk/>
          <pc:sldMk cId="396485121" sldId="2373"/>
        </pc:sldMkLst>
        <pc:spChg chg="add mod">
          <ac:chgData name="Javier Vivas Carlos" userId="S::jvivasca@emeal.nttdata.com::b7e8403b-d7e5-4f09-8c6d-23e90274941f" providerId="AD" clId="Web-{80820227-1FAE-81EC-D4ED-099306D2FD3A}" dt="2022-01-25T18:16:52.530" v="136" actId="1076"/>
          <ac:spMkLst>
            <pc:docMk/>
            <pc:sldMk cId="396485121" sldId="2373"/>
            <ac:spMk id="2" creationId="{8C908E9A-BBF2-43B9-9D51-14684EC69696}"/>
          </ac:spMkLst>
        </pc:spChg>
      </pc:sldChg>
      <pc:sldChg chg="addSp modSp">
        <pc:chgData name="Javier Vivas Carlos" userId="S::jvivasca@emeal.nttdata.com::b7e8403b-d7e5-4f09-8c6d-23e90274941f" providerId="AD" clId="Web-{80820227-1FAE-81EC-D4ED-099306D2FD3A}" dt="2022-01-25T18:18:05.375" v="141" actId="1076"/>
        <pc:sldMkLst>
          <pc:docMk/>
          <pc:sldMk cId="3304929881" sldId="2383"/>
        </pc:sldMkLst>
        <pc:spChg chg="add mod">
          <ac:chgData name="Javier Vivas Carlos" userId="S::jvivasca@emeal.nttdata.com::b7e8403b-d7e5-4f09-8c6d-23e90274941f" providerId="AD" clId="Web-{80820227-1FAE-81EC-D4ED-099306D2FD3A}" dt="2022-01-25T18:18:05.375" v="141" actId="1076"/>
          <ac:spMkLst>
            <pc:docMk/>
            <pc:sldMk cId="3304929881" sldId="2383"/>
            <ac:spMk id="2" creationId="{BE843B68-FE96-477C-8AF5-B500EB2CF58E}"/>
          </ac:spMkLst>
        </pc:spChg>
      </pc:sldChg>
      <pc:sldChg chg="addSp">
        <pc:chgData name="Javier Vivas Carlos" userId="S::jvivasca@emeal.nttdata.com::b7e8403b-d7e5-4f09-8c6d-23e90274941f" providerId="AD" clId="Web-{80820227-1FAE-81EC-D4ED-099306D2FD3A}" dt="2022-01-25T18:18:15.250" v="142"/>
        <pc:sldMkLst>
          <pc:docMk/>
          <pc:sldMk cId="3730063948" sldId="2385"/>
        </pc:sldMkLst>
        <pc:spChg chg="add">
          <ac:chgData name="Javier Vivas Carlos" userId="S::jvivasca@emeal.nttdata.com::b7e8403b-d7e5-4f09-8c6d-23e90274941f" providerId="AD" clId="Web-{80820227-1FAE-81EC-D4ED-099306D2FD3A}" dt="2022-01-25T18:18:15.250" v="142"/>
          <ac:spMkLst>
            <pc:docMk/>
            <pc:sldMk cId="3730063948" sldId="2385"/>
            <ac:spMk id="2" creationId="{39D75A60-4837-4875-9EF6-F6C10E89D047}"/>
          </ac:spMkLst>
        </pc:spChg>
      </pc:sldChg>
      <pc:sldChg chg="addSp delSp modSp">
        <pc:chgData name="Javier Vivas Carlos" userId="S::jvivasca@emeal.nttdata.com::b7e8403b-d7e5-4f09-8c6d-23e90274941f" providerId="AD" clId="Web-{80820227-1FAE-81EC-D4ED-099306D2FD3A}" dt="2022-01-25T18:15:22.059" v="127" actId="1076"/>
        <pc:sldMkLst>
          <pc:docMk/>
          <pc:sldMk cId="148524678" sldId="2394"/>
        </pc:sldMkLst>
        <pc:spChg chg="del">
          <ac:chgData name="Javier Vivas Carlos" userId="S::jvivasca@emeal.nttdata.com::b7e8403b-d7e5-4f09-8c6d-23e90274941f" providerId="AD" clId="Web-{80820227-1FAE-81EC-D4ED-099306D2FD3A}" dt="2022-01-25T18:06:32.425" v="73"/>
          <ac:spMkLst>
            <pc:docMk/>
            <pc:sldMk cId="148524678" sldId="2394"/>
            <ac:spMk id="2" creationId="{2C8BB390-D65C-4414-8CD1-15FBBD4BC9AC}"/>
          </ac:spMkLst>
        </pc:spChg>
        <pc:spChg chg="add mod">
          <ac:chgData name="Javier Vivas Carlos" userId="S::jvivasca@emeal.nttdata.com::b7e8403b-d7e5-4f09-8c6d-23e90274941f" providerId="AD" clId="Web-{80820227-1FAE-81EC-D4ED-099306D2FD3A}" dt="2022-01-25T18:15:22.059" v="127" actId="1076"/>
          <ac:spMkLst>
            <pc:docMk/>
            <pc:sldMk cId="148524678" sldId="2394"/>
            <ac:spMk id="4" creationId="{E16E0423-AAA3-43CD-A96D-3301635A71D6}"/>
          </ac:spMkLst>
        </pc:spChg>
        <pc:spChg chg="mod">
          <ac:chgData name="Javier Vivas Carlos" userId="S::jvivasca@emeal.nttdata.com::b7e8403b-d7e5-4f09-8c6d-23e90274941f" providerId="AD" clId="Web-{80820227-1FAE-81EC-D4ED-099306D2FD3A}" dt="2022-01-25T18:06:41.363" v="75" actId="20577"/>
          <ac:spMkLst>
            <pc:docMk/>
            <pc:sldMk cId="148524678" sldId="2394"/>
            <ac:spMk id="23" creationId="{1DE23EF5-D2F9-4B45-BBF1-A8A2C0983C56}"/>
          </ac:spMkLst>
        </pc:spChg>
        <pc:spChg chg="mod">
          <ac:chgData name="Javier Vivas Carlos" userId="S::jvivasca@emeal.nttdata.com::b7e8403b-d7e5-4f09-8c6d-23e90274941f" providerId="AD" clId="Web-{80820227-1FAE-81EC-D4ED-099306D2FD3A}" dt="2022-01-25T18:05:26.159" v="70" actId="20577"/>
          <ac:spMkLst>
            <pc:docMk/>
            <pc:sldMk cId="148524678" sldId="2394"/>
            <ac:spMk id="33" creationId="{8B21561B-F16E-4983-BB2E-5A6F4705DCE0}"/>
          </ac:spMkLst>
        </pc:spChg>
        <pc:grpChg chg="mod">
          <ac:chgData name="Javier Vivas Carlos" userId="S::jvivasca@emeal.nttdata.com::b7e8403b-d7e5-4f09-8c6d-23e90274941f" providerId="AD" clId="Web-{80820227-1FAE-81EC-D4ED-099306D2FD3A}" dt="2022-01-25T18:05:42.331" v="72" actId="1076"/>
          <ac:grpSpMkLst>
            <pc:docMk/>
            <pc:sldMk cId="148524678" sldId="2394"/>
            <ac:grpSpMk id="31" creationId="{A2A3BB3C-E1D4-4404-B116-6047A141308D}"/>
          </ac:grpSpMkLst>
        </pc:grpChg>
      </pc:sldChg>
      <pc:sldChg chg="addSp delSp modSp">
        <pc:chgData name="Javier Vivas Carlos" userId="S::jvivasca@emeal.nttdata.com::b7e8403b-d7e5-4f09-8c6d-23e90274941f" providerId="AD" clId="Web-{80820227-1FAE-81EC-D4ED-099306D2FD3A}" dt="2022-01-25T18:15:54.841" v="128"/>
        <pc:sldMkLst>
          <pc:docMk/>
          <pc:sldMk cId="1142499123" sldId="2395"/>
        </pc:sldMkLst>
        <pc:spChg chg="add">
          <ac:chgData name="Javier Vivas Carlos" userId="S::jvivasca@emeal.nttdata.com::b7e8403b-d7e5-4f09-8c6d-23e90274941f" providerId="AD" clId="Web-{80820227-1FAE-81EC-D4ED-099306D2FD3A}" dt="2022-01-25T18:15:54.841" v="128"/>
          <ac:spMkLst>
            <pc:docMk/>
            <pc:sldMk cId="1142499123" sldId="2395"/>
            <ac:spMk id="2" creationId="{014C7AE8-CE5D-4833-86AF-BAD909DF91AE}"/>
          </ac:spMkLst>
        </pc:spChg>
        <pc:spChg chg="mod">
          <ac:chgData name="Javier Vivas Carlos" userId="S::jvivasca@emeal.nttdata.com::b7e8403b-d7e5-4f09-8c6d-23e90274941f" providerId="AD" clId="Web-{80820227-1FAE-81EC-D4ED-099306D2FD3A}" dt="2022-01-25T18:08:31.912" v="87" actId="20577"/>
          <ac:spMkLst>
            <pc:docMk/>
            <pc:sldMk cId="1142499123" sldId="2395"/>
            <ac:spMk id="213" creationId="{E7A2E0B1-18B6-4860-B456-EBC95A8493AB}"/>
          </ac:spMkLst>
        </pc:spChg>
        <pc:spChg chg="mod">
          <ac:chgData name="Javier Vivas Carlos" userId="S::jvivasca@emeal.nttdata.com::b7e8403b-d7e5-4f09-8c6d-23e90274941f" providerId="AD" clId="Web-{80820227-1FAE-81EC-D4ED-099306D2FD3A}" dt="2022-01-25T18:09:33.272" v="98" actId="1076"/>
          <ac:spMkLst>
            <pc:docMk/>
            <pc:sldMk cId="1142499123" sldId="2395"/>
            <ac:spMk id="231" creationId="{407AD6F6-6887-455C-A309-43B3AA01D90B}"/>
          </ac:spMkLst>
        </pc:spChg>
        <pc:spChg chg="mod">
          <ac:chgData name="Javier Vivas Carlos" userId="S::jvivasca@emeal.nttdata.com::b7e8403b-d7e5-4f09-8c6d-23e90274941f" providerId="AD" clId="Web-{80820227-1FAE-81EC-D4ED-099306D2FD3A}" dt="2022-01-25T18:07:52.052" v="79" actId="20577"/>
          <ac:spMkLst>
            <pc:docMk/>
            <pc:sldMk cId="1142499123" sldId="2395"/>
            <ac:spMk id="234" creationId="{A394C6AF-BA39-4EFF-9EDF-E3E1DB4A53C9}"/>
          </ac:spMkLst>
        </pc:spChg>
        <pc:spChg chg="del mod topLvl">
          <ac:chgData name="Javier Vivas Carlos" userId="S::jvivasca@emeal.nttdata.com::b7e8403b-d7e5-4f09-8c6d-23e90274941f" providerId="AD" clId="Web-{80820227-1FAE-81EC-D4ED-099306D2FD3A}" dt="2022-01-25T18:08:52.350" v="91"/>
          <ac:spMkLst>
            <pc:docMk/>
            <pc:sldMk cId="1142499123" sldId="2395"/>
            <ac:spMk id="247" creationId="{B5D008FE-AA35-4556-A72D-0EAFA9F8AB01}"/>
          </ac:spMkLst>
        </pc:spChg>
        <pc:spChg chg="mod">
          <ac:chgData name="Javier Vivas Carlos" userId="S::jvivasca@emeal.nttdata.com::b7e8403b-d7e5-4f09-8c6d-23e90274941f" providerId="AD" clId="Web-{80820227-1FAE-81EC-D4ED-099306D2FD3A}" dt="2022-01-25T18:10:19.023" v="102" actId="20577"/>
          <ac:spMkLst>
            <pc:docMk/>
            <pc:sldMk cId="1142499123" sldId="2395"/>
            <ac:spMk id="265" creationId="{AA5BCE72-958C-4B34-9C2D-431536DB3D08}"/>
          </ac:spMkLst>
        </pc:spChg>
        <pc:spChg chg="mod">
          <ac:chgData name="Javier Vivas Carlos" userId="S::jvivasca@emeal.nttdata.com::b7e8403b-d7e5-4f09-8c6d-23e90274941f" providerId="AD" clId="Web-{80820227-1FAE-81EC-D4ED-099306D2FD3A}" dt="2022-01-25T18:11:02.899" v="104" actId="20577"/>
          <ac:spMkLst>
            <pc:docMk/>
            <pc:sldMk cId="1142499123" sldId="2395"/>
            <ac:spMk id="281" creationId="{DB90873A-087C-4B6F-8662-B917DC57F787}"/>
          </ac:spMkLst>
        </pc:spChg>
        <pc:spChg chg="mod">
          <ac:chgData name="Javier Vivas Carlos" userId="S::jvivasca@emeal.nttdata.com::b7e8403b-d7e5-4f09-8c6d-23e90274941f" providerId="AD" clId="Web-{80820227-1FAE-81EC-D4ED-099306D2FD3A}" dt="2022-01-25T18:11:36.290" v="107" actId="20577"/>
          <ac:spMkLst>
            <pc:docMk/>
            <pc:sldMk cId="1142499123" sldId="2395"/>
            <ac:spMk id="297" creationId="{08EEFE10-5E91-4564-972F-7AB56631D6F4}"/>
          </ac:spMkLst>
        </pc:spChg>
        <pc:grpChg chg="mod">
          <ac:chgData name="Javier Vivas Carlos" userId="S::jvivasca@emeal.nttdata.com::b7e8403b-d7e5-4f09-8c6d-23e90274941f" providerId="AD" clId="Web-{80820227-1FAE-81EC-D4ED-099306D2FD3A}" dt="2022-01-25T18:08:11.943" v="81" actId="1076"/>
          <ac:grpSpMkLst>
            <pc:docMk/>
            <pc:sldMk cId="1142499123" sldId="2395"/>
            <ac:grpSpMk id="212" creationId="{804DCA82-085D-4D31-ADA7-C7305EFBAE81}"/>
          </ac:grpSpMkLst>
        </pc:grpChg>
        <pc:grpChg chg="del">
          <ac:chgData name="Javier Vivas Carlos" userId="S::jvivasca@emeal.nttdata.com::b7e8403b-d7e5-4f09-8c6d-23e90274941f" providerId="AD" clId="Web-{80820227-1FAE-81EC-D4ED-099306D2FD3A}" dt="2022-01-25T18:08:01.489" v="80"/>
          <ac:grpSpMkLst>
            <pc:docMk/>
            <pc:sldMk cId="1142499123" sldId="2395"/>
            <ac:grpSpMk id="216" creationId="{DE5C5D81-4DDC-440A-ADC3-7D022721B30D}"/>
          </ac:grpSpMkLst>
        </pc:grpChg>
        <pc:grpChg chg="del mod">
          <ac:chgData name="Javier Vivas Carlos" userId="S::jvivasca@emeal.nttdata.com::b7e8403b-d7e5-4f09-8c6d-23e90274941f" providerId="AD" clId="Web-{80820227-1FAE-81EC-D4ED-099306D2FD3A}" dt="2022-01-25T18:09:02.131" v="93"/>
          <ac:grpSpMkLst>
            <pc:docMk/>
            <pc:sldMk cId="1142499123" sldId="2395"/>
            <ac:grpSpMk id="227" creationId="{3965BD5A-99B8-4A58-931F-1556F6BB8B56}"/>
          </ac:grpSpMkLst>
        </pc:grpChg>
        <pc:grpChg chg="mod">
          <ac:chgData name="Javier Vivas Carlos" userId="S::jvivasca@emeal.nttdata.com::b7e8403b-d7e5-4f09-8c6d-23e90274941f" providerId="AD" clId="Web-{80820227-1FAE-81EC-D4ED-099306D2FD3A}" dt="2022-01-25T18:09:22.053" v="96" actId="1076"/>
          <ac:grpSpMkLst>
            <pc:docMk/>
            <pc:sldMk cId="1142499123" sldId="2395"/>
            <ac:grpSpMk id="230" creationId="{DA8D259A-7DFB-44A0-94C5-3B452D9B16D3}"/>
          </ac:grpSpMkLst>
        </pc:grpChg>
        <pc:grpChg chg="del">
          <ac:chgData name="Javier Vivas Carlos" userId="S::jvivasca@emeal.nttdata.com::b7e8403b-d7e5-4f09-8c6d-23e90274941f" providerId="AD" clId="Web-{80820227-1FAE-81EC-D4ED-099306D2FD3A}" dt="2022-01-25T18:08:42.037" v="88"/>
          <ac:grpSpMkLst>
            <pc:docMk/>
            <pc:sldMk cId="1142499123" sldId="2395"/>
            <ac:grpSpMk id="246" creationId="{123A6C90-244A-4869-83AA-68019269391E}"/>
          </ac:grpSpMkLst>
        </pc:grpChg>
        <pc:grpChg chg="mod">
          <ac:chgData name="Javier Vivas Carlos" userId="S::jvivasca@emeal.nttdata.com::b7e8403b-d7e5-4f09-8c6d-23e90274941f" providerId="AD" clId="Web-{80820227-1FAE-81EC-D4ED-099306D2FD3A}" dt="2022-01-25T18:09:42.929" v="99" actId="1076"/>
          <ac:grpSpMkLst>
            <pc:docMk/>
            <pc:sldMk cId="1142499123" sldId="2395"/>
            <ac:grpSpMk id="264" creationId="{9C0CF0F0-05DB-44A6-A639-4BADC2E8D551}"/>
          </ac:grpSpMkLst>
        </pc:grpChg>
        <pc:grpChg chg="mod">
          <ac:chgData name="Javier Vivas Carlos" userId="S::jvivasca@emeal.nttdata.com::b7e8403b-d7e5-4f09-8c6d-23e90274941f" providerId="AD" clId="Web-{80820227-1FAE-81EC-D4ED-099306D2FD3A}" dt="2022-01-25T18:09:32.913" v="97" actId="1076"/>
          <ac:grpSpMkLst>
            <pc:docMk/>
            <pc:sldMk cId="1142499123" sldId="2395"/>
            <ac:grpSpMk id="270" creationId="{4CD7F38D-4B38-405F-BC30-5E3029BC5925}"/>
          </ac:grpSpMkLst>
        </pc:grpChg>
        <pc:grpChg chg="del">
          <ac:chgData name="Javier Vivas Carlos" userId="S::jvivasca@emeal.nttdata.com::b7e8403b-d7e5-4f09-8c6d-23e90274941f" providerId="AD" clId="Web-{80820227-1FAE-81EC-D4ED-099306D2FD3A}" dt="2022-01-25T18:09:12.381" v="95"/>
          <ac:grpSpMkLst>
            <pc:docMk/>
            <pc:sldMk cId="1142499123" sldId="2395"/>
            <ac:grpSpMk id="273" creationId="{B395DAAD-F0D1-431C-9F7A-1DD6C2931635}"/>
          </ac:grpSpMkLst>
        </pc:grpChg>
        <pc:picChg chg="del topLvl">
          <ac:chgData name="Javier Vivas Carlos" userId="S::jvivasca@emeal.nttdata.com::b7e8403b-d7e5-4f09-8c6d-23e90274941f" providerId="AD" clId="Web-{80820227-1FAE-81EC-D4ED-099306D2FD3A}" dt="2022-01-25T18:08:42.037" v="88"/>
          <ac:picMkLst>
            <pc:docMk/>
            <pc:sldMk cId="1142499123" sldId="2395"/>
            <ac:picMk id="248" creationId="{CA8E2DE0-7A9A-4436-B7D3-32C593255F38}"/>
          </ac:picMkLst>
        </pc:picChg>
      </pc:sldChg>
      <pc:sldChg chg="addSp">
        <pc:chgData name="Javier Vivas Carlos" userId="S::jvivasca@emeal.nttdata.com::b7e8403b-d7e5-4f09-8c6d-23e90274941f" providerId="AD" clId="Web-{80820227-1FAE-81EC-D4ED-099306D2FD3A}" dt="2022-01-25T18:18:38.016" v="144"/>
        <pc:sldMkLst>
          <pc:docMk/>
          <pc:sldMk cId="3851422961" sldId="2413"/>
        </pc:sldMkLst>
        <pc:spChg chg="add">
          <ac:chgData name="Javier Vivas Carlos" userId="S::jvivasca@emeal.nttdata.com::b7e8403b-d7e5-4f09-8c6d-23e90274941f" providerId="AD" clId="Web-{80820227-1FAE-81EC-D4ED-099306D2FD3A}" dt="2022-01-25T18:18:38.016" v="144"/>
          <ac:spMkLst>
            <pc:docMk/>
            <pc:sldMk cId="3851422961" sldId="2413"/>
            <ac:spMk id="4" creationId="{52BC3931-EFD2-4BA0-BCC1-D423DE2FE686}"/>
          </ac:spMkLst>
        </pc:spChg>
      </pc:sldChg>
      <pc:sldChg chg="addSp modSp">
        <pc:chgData name="Javier Vivas Carlos" userId="S::jvivasca@emeal.nttdata.com::b7e8403b-d7e5-4f09-8c6d-23e90274941f" providerId="AD" clId="Web-{80820227-1FAE-81EC-D4ED-099306D2FD3A}" dt="2022-01-25T18:18:55.782" v="146" actId="1076"/>
        <pc:sldMkLst>
          <pc:docMk/>
          <pc:sldMk cId="125196209" sldId="2414"/>
        </pc:sldMkLst>
        <pc:spChg chg="add mod">
          <ac:chgData name="Javier Vivas Carlos" userId="S::jvivasca@emeal.nttdata.com::b7e8403b-d7e5-4f09-8c6d-23e90274941f" providerId="AD" clId="Web-{80820227-1FAE-81EC-D4ED-099306D2FD3A}" dt="2022-01-25T18:18:55.782" v="146" actId="1076"/>
          <ac:spMkLst>
            <pc:docMk/>
            <pc:sldMk cId="125196209" sldId="2414"/>
            <ac:spMk id="4" creationId="{403E95DD-CAC9-4E59-B3FE-2880D565ACA9}"/>
          </ac:spMkLst>
        </pc:spChg>
      </pc:sldChg>
      <pc:sldChg chg="del">
        <pc:chgData name="Javier Vivas Carlos" userId="S::jvivasca@emeal.nttdata.com::b7e8403b-d7e5-4f09-8c6d-23e90274941f" providerId="AD" clId="Web-{80820227-1FAE-81EC-D4ED-099306D2FD3A}" dt="2022-01-25T18:12:50.494" v="108"/>
        <pc:sldMkLst>
          <pc:docMk/>
          <pc:sldMk cId="828230697" sldId="2442"/>
        </pc:sldMkLst>
      </pc:sldChg>
    </pc:docChg>
  </pc:docChgLst>
  <pc:docChgLst>
    <pc:chgData name="Alvaro Mier Fernandez" userId="S::amierfer@emeal.nttdata.com::c642f8e6-b31e-4af5-bb23-25d9263e6664" providerId="AD" clId="Web-{D795C7A4-8996-C499-7B82-D7F8F1643D38}"/>
    <pc:docChg chg="modSld">
      <pc:chgData name="Alvaro Mier Fernandez" userId="S::amierfer@emeal.nttdata.com::c642f8e6-b31e-4af5-bb23-25d9263e6664" providerId="AD" clId="Web-{D795C7A4-8996-C499-7B82-D7F8F1643D38}" dt="2022-04-29T08:33:33.189" v="19" actId="1076"/>
      <pc:docMkLst>
        <pc:docMk/>
      </pc:docMkLst>
      <pc:sldChg chg="addSp modSp">
        <pc:chgData name="Alvaro Mier Fernandez" userId="S::amierfer@emeal.nttdata.com::c642f8e6-b31e-4af5-bb23-25d9263e6664" providerId="AD" clId="Web-{D795C7A4-8996-C499-7B82-D7F8F1643D38}" dt="2022-04-29T08:33:33.189" v="19" actId="1076"/>
        <pc:sldMkLst>
          <pc:docMk/>
          <pc:sldMk cId="2412637373" sldId="2419"/>
        </pc:sldMkLst>
        <pc:spChg chg="add mod">
          <ac:chgData name="Alvaro Mier Fernandez" userId="S::amierfer@emeal.nttdata.com::c642f8e6-b31e-4af5-bb23-25d9263e6664" providerId="AD" clId="Web-{D795C7A4-8996-C499-7B82-D7F8F1643D38}" dt="2022-04-29T08:33:33.189" v="19" actId="1076"/>
          <ac:spMkLst>
            <pc:docMk/>
            <pc:sldMk cId="2412637373" sldId="2419"/>
            <ac:spMk id="2" creationId="{B5579BC6-7F8A-B380-5D91-DB3F896079FD}"/>
          </ac:spMkLst>
        </pc:spChg>
      </pc:sldChg>
    </pc:docChg>
  </pc:docChgLst>
  <pc:docChgLst>
    <pc:chgData name="David Pastor Puyuelo" userId="S::dpastopu@emeal.nttdata.com::4ba541ea-9651-41d4-862c-06544bb5ec7b" providerId="AD" clId="Web-{A1AE5DE9-F562-4DD6-FDCA-C7EFBCFEBE33}"/>
    <pc:docChg chg="modSld">
      <pc:chgData name="David Pastor Puyuelo" userId="S::dpastopu@emeal.nttdata.com::4ba541ea-9651-41d4-862c-06544bb5ec7b" providerId="AD" clId="Web-{A1AE5DE9-F562-4DD6-FDCA-C7EFBCFEBE33}" dt="2022-05-03T07:35:21.518" v="1" actId="20577"/>
      <pc:docMkLst>
        <pc:docMk/>
      </pc:docMkLst>
      <pc:sldChg chg="modSp">
        <pc:chgData name="David Pastor Puyuelo" userId="S::dpastopu@emeal.nttdata.com::4ba541ea-9651-41d4-862c-06544bb5ec7b" providerId="AD" clId="Web-{A1AE5DE9-F562-4DD6-FDCA-C7EFBCFEBE33}" dt="2022-05-03T07:35:21.518" v="1" actId="20577"/>
        <pc:sldMkLst>
          <pc:docMk/>
          <pc:sldMk cId="1460187444" sldId="2473"/>
        </pc:sldMkLst>
        <pc:spChg chg="mod">
          <ac:chgData name="David Pastor Puyuelo" userId="S::dpastopu@emeal.nttdata.com::4ba541ea-9651-41d4-862c-06544bb5ec7b" providerId="AD" clId="Web-{A1AE5DE9-F562-4DD6-FDCA-C7EFBCFEBE33}" dt="2022-05-03T07:35:21.518" v="1" actId="20577"/>
          <ac:spMkLst>
            <pc:docMk/>
            <pc:sldMk cId="1460187444" sldId="2473"/>
            <ac:spMk id="2" creationId="{4BBBE611-8AAB-382C-0782-56AB5D6BBDFA}"/>
          </ac:spMkLst>
        </pc:spChg>
      </pc:sldChg>
    </pc:docChg>
  </pc:docChgLst>
  <pc:docChgLst>
    <pc:chgData name="Ana Isabel Silla Cortes" userId="S::asillaco@emeal.nttdata.com::b546b5c1-2aeb-468b-a361-4830835db4b0" providerId="AD" clId="Web-{46DAED37-CAFF-473D-8715-E984FC299E9C}"/>
    <pc:docChg chg="modSld">
      <pc:chgData name="Ana Isabel Silla Cortes" userId="S::asillaco@emeal.nttdata.com::b546b5c1-2aeb-468b-a361-4830835db4b0" providerId="AD" clId="Web-{46DAED37-CAFF-473D-8715-E984FC299E9C}" dt="2022-04-29T10:03:32.443" v="36"/>
      <pc:docMkLst>
        <pc:docMk/>
      </pc:docMkLst>
      <pc:sldChg chg="modSp">
        <pc:chgData name="Ana Isabel Silla Cortes" userId="S::asillaco@emeal.nttdata.com::b546b5c1-2aeb-468b-a361-4830835db4b0" providerId="AD" clId="Web-{46DAED37-CAFF-473D-8715-E984FC299E9C}" dt="2022-04-29T10:03:08.504" v="34" actId="20577"/>
        <pc:sldMkLst>
          <pc:docMk/>
          <pc:sldMk cId="981156525" sldId="2418"/>
        </pc:sldMkLst>
        <pc:spChg chg="mod">
          <ac:chgData name="Ana Isabel Silla Cortes" userId="S::asillaco@emeal.nttdata.com::b546b5c1-2aeb-468b-a361-4830835db4b0" providerId="AD" clId="Web-{46DAED37-CAFF-473D-8715-E984FC299E9C}" dt="2022-04-29T10:03:08.504" v="34" actId="20577"/>
          <ac:spMkLst>
            <pc:docMk/>
            <pc:sldMk cId="981156525" sldId="2418"/>
            <ac:spMk id="2" creationId="{830EE9A9-04A7-6669-A951-D6117184AC85}"/>
          </ac:spMkLst>
        </pc:spChg>
      </pc:sldChg>
      <pc:sldChg chg="addSp delSp modSp">
        <pc:chgData name="Ana Isabel Silla Cortes" userId="S::asillaco@emeal.nttdata.com::b546b5c1-2aeb-468b-a361-4830835db4b0" providerId="AD" clId="Web-{46DAED37-CAFF-473D-8715-E984FC299E9C}" dt="2022-04-29T10:03:32.443" v="36"/>
        <pc:sldMkLst>
          <pc:docMk/>
          <pc:sldMk cId="812854890" sldId="2424"/>
        </pc:sldMkLst>
        <pc:picChg chg="add del mod">
          <ac:chgData name="Ana Isabel Silla Cortes" userId="S::asillaco@emeal.nttdata.com::b546b5c1-2aeb-468b-a361-4830835db4b0" providerId="AD" clId="Web-{46DAED37-CAFF-473D-8715-E984FC299E9C}" dt="2022-04-29T10:03:32.443" v="36"/>
          <ac:picMkLst>
            <pc:docMk/>
            <pc:sldMk cId="812854890" sldId="2424"/>
            <ac:picMk id="2" creationId="{E2411884-F6BC-D3AA-7614-207BF2F37C24}"/>
          </ac:picMkLst>
        </pc:picChg>
      </pc:sldChg>
    </pc:docChg>
  </pc:docChgLst>
  <pc:docChgLst>
    <pc:chgData name="Ana Isabel Silla Cortes" userId="S::asillaco@emeal.nttdata.com::b546b5c1-2aeb-468b-a361-4830835db4b0" providerId="AD" clId="Web-{AD13ABEB-473C-420F-80CB-2EAED4AB049D}"/>
    <pc:docChg chg="addSld delSld modSld modSection">
      <pc:chgData name="Ana Isabel Silla Cortes" userId="S::asillaco@emeal.nttdata.com::b546b5c1-2aeb-468b-a361-4830835db4b0" providerId="AD" clId="Web-{AD13ABEB-473C-420F-80CB-2EAED4AB049D}" dt="2022-05-05T10:49:28.195" v="21"/>
      <pc:docMkLst>
        <pc:docMk/>
      </pc:docMkLst>
      <pc:sldChg chg="delSp modSp">
        <pc:chgData name="Ana Isabel Silla Cortes" userId="S::asillaco@emeal.nttdata.com::b546b5c1-2aeb-468b-a361-4830835db4b0" providerId="AD" clId="Web-{AD13ABEB-473C-420F-80CB-2EAED4AB049D}" dt="2022-05-05T10:48:27.365" v="2" actId="1076"/>
        <pc:sldMkLst>
          <pc:docMk/>
          <pc:sldMk cId="2485783394" sldId="2430"/>
        </pc:sldMkLst>
        <pc:picChg chg="mod">
          <ac:chgData name="Ana Isabel Silla Cortes" userId="S::asillaco@emeal.nttdata.com::b546b5c1-2aeb-468b-a361-4830835db4b0" providerId="AD" clId="Web-{AD13ABEB-473C-420F-80CB-2EAED4AB049D}" dt="2022-05-05T10:48:27.365" v="2" actId="1076"/>
          <ac:picMkLst>
            <pc:docMk/>
            <pc:sldMk cId="2485783394" sldId="2430"/>
            <ac:picMk id="6" creationId="{F0743334-4DD0-B4A8-CC16-ADB839E236C5}"/>
          </ac:picMkLst>
        </pc:picChg>
        <pc:picChg chg="del">
          <ac:chgData name="Ana Isabel Silla Cortes" userId="S::asillaco@emeal.nttdata.com::b546b5c1-2aeb-468b-a361-4830835db4b0" providerId="AD" clId="Web-{AD13ABEB-473C-420F-80CB-2EAED4AB049D}" dt="2022-05-05T10:48:25.193" v="1"/>
          <ac:picMkLst>
            <pc:docMk/>
            <pc:sldMk cId="2485783394" sldId="2430"/>
            <ac:picMk id="7" creationId="{3ACA05DA-9B0F-45C3-0C68-8D85D3A35885}"/>
          </ac:picMkLst>
        </pc:picChg>
      </pc:sldChg>
      <pc:sldChg chg="addSp delSp modSp add replId">
        <pc:chgData name="Ana Isabel Silla Cortes" userId="S::asillaco@emeal.nttdata.com::b546b5c1-2aeb-468b-a361-4830835db4b0" providerId="AD" clId="Web-{AD13ABEB-473C-420F-80CB-2EAED4AB049D}" dt="2022-05-05T10:49:25.633" v="20" actId="14100"/>
        <pc:sldMkLst>
          <pc:docMk/>
          <pc:sldMk cId="3574769277" sldId="2486"/>
        </pc:sldMkLst>
        <pc:picChg chg="add mod">
          <ac:chgData name="Ana Isabel Silla Cortes" userId="S::asillaco@emeal.nttdata.com::b546b5c1-2aeb-468b-a361-4830835db4b0" providerId="AD" clId="Web-{AD13ABEB-473C-420F-80CB-2EAED4AB049D}" dt="2022-05-05T10:49:25.633" v="20" actId="14100"/>
          <ac:picMkLst>
            <pc:docMk/>
            <pc:sldMk cId="3574769277" sldId="2486"/>
            <ac:picMk id="2" creationId="{2B61E137-CE9B-9AA5-326E-76B638907312}"/>
          </ac:picMkLst>
        </pc:picChg>
        <pc:picChg chg="add mod">
          <ac:chgData name="Ana Isabel Silla Cortes" userId="S::asillaco@emeal.nttdata.com::b546b5c1-2aeb-468b-a361-4830835db4b0" providerId="AD" clId="Web-{AD13ABEB-473C-420F-80CB-2EAED4AB049D}" dt="2022-05-05T10:49:20.398" v="19" actId="14100"/>
          <ac:picMkLst>
            <pc:docMk/>
            <pc:sldMk cId="3574769277" sldId="2486"/>
            <ac:picMk id="4" creationId="{30EC3BBF-D08C-FD94-DD56-D13B2456F4CA}"/>
          </ac:picMkLst>
        </pc:picChg>
        <pc:picChg chg="del">
          <ac:chgData name="Ana Isabel Silla Cortes" userId="S::asillaco@emeal.nttdata.com::b546b5c1-2aeb-468b-a361-4830835db4b0" providerId="AD" clId="Web-{AD13ABEB-473C-420F-80CB-2EAED4AB049D}" dt="2022-05-05T10:48:32.053" v="3"/>
          <ac:picMkLst>
            <pc:docMk/>
            <pc:sldMk cId="3574769277" sldId="2486"/>
            <ac:picMk id="6" creationId="{F0743334-4DD0-B4A8-CC16-ADB839E236C5}"/>
          </ac:picMkLst>
        </pc:picChg>
        <pc:picChg chg="del">
          <ac:chgData name="Ana Isabel Silla Cortes" userId="S::asillaco@emeal.nttdata.com::b546b5c1-2aeb-468b-a361-4830835db4b0" providerId="AD" clId="Web-{AD13ABEB-473C-420F-80CB-2EAED4AB049D}" dt="2022-05-05T10:48:35.084" v="4"/>
          <ac:picMkLst>
            <pc:docMk/>
            <pc:sldMk cId="3574769277" sldId="2486"/>
            <ac:picMk id="7" creationId="{3ACA05DA-9B0F-45C3-0C68-8D85D3A35885}"/>
          </ac:picMkLst>
        </pc:picChg>
      </pc:sldChg>
      <pc:sldChg chg="addSp delSp modSp new del">
        <pc:chgData name="Ana Isabel Silla Cortes" userId="S::asillaco@emeal.nttdata.com::b546b5c1-2aeb-468b-a361-4830835db4b0" providerId="AD" clId="Web-{AD13ABEB-473C-420F-80CB-2EAED4AB049D}" dt="2022-05-05T10:48:50.710" v="8"/>
        <pc:sldMkLst>
          <pc:docMk/>
          <pc:sldMk cId="694855550" sldId="2487"/>
        </pc:sldMkLst>
        <pc:spChg chg="del">
          <ac:chgData name="Ana Isabel Silla Cortes" userId="S::asillaco@emeal.nttdata.com::b546b5c1-2aeb-468b-a361-4830835db4b0" providerId="AD" clId="Web-{AD13ABEB-473C-420F-80CB-2EAED4AB049D}" dt="2022-05-05T10:48:42.288" v="6"/>
          <ac:spMkLst>
            <pc:docMk/>
            <pc:sldMk cId="694855550" sldId="2487"/>
            <ac:spMk id="3" creationId="{1B56D665-AE7A-31A5-E742-82CD9E75EC25}"/>
          </ac:spMkLst>
        </pc:spChg>
        <pc:picChg chg="add mod ord">
          <ac:chgData name="Ana Isabel Silla Cortes" userId="S::asillaco@emeal.nttdata.com::b546b5c1-2aeb-468b-a361-4830835db4b0" providerId="AD" clId="Web-{AD13ABEB-473C-420F-80CB-2EAED4AB049D}" dt="2022-05-05T10:48:42.288" v="6"/>
          <ac:picMkLst>
            <pc:docMk/>
            <pc:sldMk cId="694855550" sldId="2487"/>
            <ac:picMk id="5" creationId="{66A370B3-59A6-2051-DEF0-1E44CEC47FBB}"/>
          </ac:picMkLst>
        </pc:picChg>
      </pc:sldChg>
      <pc:sldChg chg="addSp delSp modSp new del">
        <pc:chgData name="Ana Isabel Silla Cortes" userId="S::asillaco@emeal.nttdata.com::b546b5c1-2aeb-468b-a361-4830835db4b0" providerId="AD" clId="Web-{AD13ABEB-473C-420F-80CB-2EAED4AB049D}" dt="2022-05-05T10:49:28.195" v="21"/>
        <pc:sldMkLst>
          <pc:docMk/>
          <pc:sldMk cId="2275816391" sldId="2487"/>
        </pc:sldMkLst>
        <pc:spChg chg="del">
          <ac:chgData name="Ana Isabel Silla Cortes" userId="S::asillaco@emeal.nttdata.com::b546b5c1-2aeb-468b-a361-4830835db4b0" providerId="AD" clId="Web-{AD13ABEB-473C-420F-80CB-2EAED4AB049D}" dt="2022-05-05T10:49:01.898" v="10"/>
          <ac:spMkLst>
            <pc:docMk/>
            <pc:sldMk cId="2275816391" sldId="2487"/>
            <ac:spMk id="3" creationId="{71BC7FC2-2368-6BA0-A86D-6F72B1F914A7}"/>
          </ac:spMkLst>
        </pc:spChg>
        <pc:picChg chg="add mod ord">
          <ac:chgData name="Ana Isabel Silla Cortes" userId="S::asillaco@emeal.nttdata.com::b546b5c1-2aeb-468b-a361-4830835db4b0" providerId="AD" clId="Web-{AD13ABEB-473C-420F-80CB-2EAED4AB049D}" dt="2022-05-05T10:49:01.898" v="10"/>
          <ac:picMkLst>
            <pc:docMk/>
            <pc:sldMk cId="2275816391" sldId="2487"/>
            <ac:picMk id="5" creationId="{9F0FCA18-28CC-A233-9B5C-FCC99E1D52F1}"/>
          </ac:picMkLst>
        </pc:picChg>
      </pc:sldChg>
    </pc:docChg>
  </pc:docChgLst>
  <pc:docChgLst>
    <pc:chgData name="Ana Isabel Silla Cortes" userId="S::asillaco@emeal.nttdata.com::b546b5c1-2aeb-468b-a361-4830835db4b0" providerId="AD" clId="Web-{565BF003-2554-4C6D-AEA6-FB2A7C136B34}"/>
    <pc:docChg chg="modSld">
      <pc:chgData name="Ana Isabel Silla Cortes" userId="S::asillaco@emeal.nttdata.com::b546b5c1-2aeb-468b-a361-4830835db4b0" providerId="AD" clId="Web-{565BF003-2554-4C6D-AEA6-FB2A7C136B34}" dt="2022-05-04T14:38:47.072" v="160" actId="20577"/>
      <pc:docMkLst>
        <pc:docMk/>
      </pc:docMkLst>
      <pc:sldChg chg="modSp">
        <pc:chgData name="Ana Isabel Silla Cortes" userId="S::asillaco@emeal.nttdata.com::b546b5c1-2aeb-468b-a361-4830835db4b0" providerId="AD" clId="Web-{565BF003-2554-4C6D-AEA6-FB2A7C136B34}" dt="2022-05-04T14:38:47.072" v="160" actId="20577"/>
        <pc:sldMkLst>
          <pc:docMk/>
          <pc:sldMk cId="2002864901" sldId="2429"/>
        </pc:sldMkLst>
        <pc:spChg chg="mod">
          <ac:chgData name="Ana Isabel Silla Cortes" userId="S::asillaco@emeal.nttdata.com::b546b5c1-2aeb-468b-a361-4830835db4b0" providerId="AD" clId="Web-{565BF003-2554-4C6D-AEA6-FB2A7C136B34}" dt="2022-05-04T14:38:47.072" v="160" actId="20577"/>
          <ac:spMkLst>
            <pc:docMk/>
            <pc:sldMk cId="2002864901" sldId="2429"/>
            <ac:spMk id="9" creationId="{B7389055-ED77-4CBB-25AC-763AF829A1DC}"/>
          </ac:spMkLst>
        </pc:spChg>
      </pc:sldChg>
    </pc:docChg>
  </pc:docChgLst>
  <pc:docChgLst>
    <pc:chgData name="Ana Isabel Silla Cortes" userId="S::asillaco@emeal.nttdata.com::b546b5c1-2aeb-468b-a361-4830835db4b0" providerId="AD" clId="Web-{DA76F29E-AB6B-4BF5-985F-5EF89D379ACC}"/>
    <pc:docChg chg="addSld modSld modSection">
      <pc:chgData name="Ana Isabel Silla Cortes" userId="S::asillaco@emeal.nttdata.com::b546b5c1-2aeb-468b-a361-4830835db4b0" providerId="AD" clId="Web-{DA76F29E-AB6B-4BF5-985F-5EF89D379ACC}" dt="2022-05-03T08:45:45.062" v="142" actId="20577"/>
      <pc:docMkLst>
        <pc:docMk/>
      </pc:docMkLst>
      <pc:sldChg chg="modSp">
        <pc:chgData name="Ana Isabel Silla Cortes" userId="S::asillaco@emeal.nttdata.com::b546b5c1-2aeb-468b-a361-4830835db4b0" providerId="AD" clId="Web-{DA76F29E-AB6B-4BF5-985F-5EF89D379ACC}" dt="2022-05-03T08:41:39.430" v="12" actId="20577"/>
        <pc:sldMkLst>
          <pc:docMk/>
          <pc:sldMk cId="2392750449" sldId="2335"/>
        </pc:sldMkLst>
        <pc:spChg chg="mod">
          <ac:chgData name="Ana Isabel Silla Cortes" userId="S::asillaco@emeal.nttdata.com::b546b5c1-2aeb-468b-a361-4830835db4b0" providerId="AD" clId="Web-{DA76F29E-AB6B-4BF5-985F-5EF89D379ACC}" dt="2022-05-03T08:41:39.430" v="12" actId="20577"/>
          <ac:spMkLst>
            <pc:docMk/>
            <pc:sldMk cId="2392750449" sldId="2335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DA76F29E-AB6B-4BF5-985F-5EF89D379ACC}" dt="2022-05-03T08:42:17.821" v="42" actId="20577"/>
        <pc:sldMkLst>
          <pc:docMk/>
          <pc:sldMk cId="1737487934" sldId="2431"/>
        </pc:sldMkLst>
        <pc:spChg chg="mod">
          <ac:chgData name="Ana Isabel Silla Cortes" userId="S::asillaco@emeal.nttdata.com::b546b5c1-2aeb-468b-a361-4830835db4b0" providerId="AD" clId="Web-{DA76F29E-AB6B-4BF5-985F-5EF89D379ACC}" dt="2022-05-03T08:42:17.821" v="42" actId="20577"/>
          <ac:spMkLst>
            <pc:docMk/>
            <pc:sldMk cId="1737487934" sldId="2431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DA76F29E-AB6B-4BF5-985F-5EF89D379ACC}" dt="2022-05-03T08:42:00.243" v="29" actId="20577"/>
        <pc:sldMkLst>
          <pc:docMk/>
          <pc:sldMk cId="768627014" sldId="2432"/>
        </pc:sldMkLst>
        <pc:spChg chg="mod">
          <ac:chgData name="Ana Isabel Silla Cortes" userId="S::asillaco@emeal.nttdata.com::b546b5c1-2aeb-468b-a361-4830835db4b0" providerId="AD" clId="Web-{DA76F29E-AB6B-4BF5-985F-5EF89D379ACC}" dt="2022-05-03T08:42:00.243" v="29" actId="20577"/>
          <ac:spMkLst>
            <pc:docMk/>
            <pc:sldMk cId="768627014" sldId="2432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DA76F29E-AB6B-4BF5-985F-5EF89D379ACC}" dt="2022-05-03T08:42:34.197" v="57" actId="20577"/>
        <pc:sldMkLst>
          <pc:docMk/>
          <pc:sldMk cId="2958677732" sldId="2433"/>
        </pc:sldMkLst>
        <pc:spChg chg="mod">
          <ac:chgData name="Ana Isabel Silla Cortes" userId="S::asillaco@emeal.nttdata.com::b546b5c1-2aeb-468b-a361-4830835db4b0" providerId="AD" clId="Web-{DA76F29E-AB6B-4BF5-985F-5EF89D379ACC}" dt="2022-05-03T08:42:34.197" v="57" actId="20577"/>
          <ac:spMkLst>
            <pc:docMk/>
            <pc:sldMk cId="2958677732" sldId="2433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DA76F29E-AB6B-4BF5-985F-5EF89D379ACC}" dt="2022-05-03T08:42:48.619" v="71" actId="20577"/>
        <pc:sldMkLst>
          <pc:docMk/>
          <pc:sldMk cId="3347855164" sldId="2434"/>
        </pc:sldMkLst>
        <pc:spChg chg="mod">
          <ac:chgData name="Ana Isabel Silla Cortes" userId="S::asillaco@emeal.nttdata.com::b546b5c1-2aeb-468b-a361-4830835db4b0" providerId="AD" clId="Web-{DA76F29E-AB6B-4BF5-985F-5EF89D379ACC}" dt="2022-05-03T08:42:48.619" v="71" actId="20577"/>
          <ac:spMkLst>
            <pc:docMk/>
            <pc:sldMk cId="3347855164" sldId="2434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DA76F29E-AB6B-4BF5-985F-5EF89D379ACC}" dt="2022-05-03T08:43:22.136" v="91" actId="20577"/>
        <pc:sldMkLst>
          <pc:docMk/>
          <pc:sldMk cId="1632767328" sldId="2435"/>
        </pc:sldMkLst>
        <pc:spChg chg="mod">
          <ac:chgData name="Ana Isabel Silla Cortes" userId="S::asillaco@emeal.nttdata.com::b546b5c1-2aeb-468b-a361-4830835db4b0" providerId="AD" clId="Web-{DA76F29E-AB6B-4BF5-985F-5EF89D379ACC}" dt="2022-05-03T08:43:22.136" v="91" actId="20577"/>
          <ac:spMkLst>
            <pc:docMk/>
            <pc:sldMk cId="1632767328" sldId="2435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DA76F29E-AB6B-4BF5-985F-5EF89D379ACC}" dt="2022-05-03T08:44:57.685" v="139" actId="20577"/>
        <pc:sldMkLst>
          <pc:docMk/>
          <pc:sldMk cId="3330879086" sldId="2452"/>
        </pc:sldMkLst>
        <pc:spChg chg="mod">
          <ac:chgData name="Ana Isabel Silla Cortes" userId="S::asillaco@emeal.nttdata.com::b546b5c1-2aeb-468b-a361-4830835db4b0" providerId="AD" clId="Web-{DA76F29E-AB6B-4BF5-985F-5EF89D379ACC}" dt="2022-05-03T08:44:57.685" v="139" actId="20577"/>
          <ac:spMkLst>
            <pc:docMk/>
            <pc:sldMk cId="3330879086" sldId="2452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DA76F29E-AB6B-4BF5-985F-5EF89D379ACC}" dt="2022-05-03T08:43:42.027" v="102" actId="20577"/>
        <pc:sldMkLst>
          <pc:docMk/>
          <pc:sldMk cId="163228844" sldId="2453"/>
        </pc:sldMkLst>
        <pc:spChg chg="mod">
          <ac:chgData name="Ana Isabel Silla Cortes" userId="S::asillaco@emeal.nttdata.com::b546b5c1-2aeb-468b-a361-4830835db4b0" providerId="AD" clId="Web-{DA76F29E-AB6B-4BF5-985F-5EF89D379ACC}" dt="2022-05-03T08:43:42.027" v="102" actId="20577"/>
          <ac:spMkLst>
            <pc:docMk/>
            <pc:sldMk cId="163228844" sldId="2453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DA76F29E-AB6B-4BF5-985F-5EF89D379ACC}" dt="2022-05-03T08:44:11.200" v="117" actId="20577"/>
        <pc:sldMkLst>
          <pc:docMk/>
          <pc:sldMk cId="560978902" sldId="2460"/>
        </pc:sldMkLst>
        <pc:spChg chg="mod">
          <ac:chgData name="Ana Isabel Silla Cortes" userId="S::asillaco@emeal.nttdata.com::b546b5c1-2aeb-468b-a361-4830835db4b0" providerId="AD" clId="Web-{DA76F29E-AB6B-4BF5-985F-5EF89D379ACC}" dt="2022-05-03T08:44:11.200" v="117" actId="20577"/>
          <ac:spMkLst>
            <pc:docMk/>
            <pc:sldMk cId="560978902" sldId="2460"/>
            <ac:spMk id="20" creationId="{EE2EB87E-F264-4765-9C66-FE84E21A3B66}"/>
          </ac:spMkLst>
        </pc:spChg>
      </pc:sldChg>
      <pc:sldChg chg="delSp modSp">
        <pc:chgData name="Ana Isabel Silla Cortes" userId="S::asillaco@emeal.nttdata.com::b546b5c1-2aeb-468b-a361-4830835db4b0" providerId="AD" clId="Web-{DA76F29E-AB6B-4BF5-985F-5EF89D379ACC}" dt="2022-05-03T08:45:45.062" v="142" actId="20577"/>
        <pc:sldMkLst>
          <pc:docMk/>
          <pc:sldMk cId="4150022715" sldId="2463"/>
        </pc:sldMkLst>
        <pc:spChg chg="mod">
          <ac:chgData name="Ana Isabel Silla Cortes" userId="S::asillaco@emeal.nttdata.com::b546b5c1-2aeb-468b-a361-4830835db4b0" providerId="AD" clId="Web-{DA76F29E-AB6B-4BF5-985F-5EF89D379ACC}" dt="2022-05-03T08:45:45.062" v="142" actId="20577"/>
          <ac:spMkLst>
            <pc:docMk/>
            <pc:sldMk cId="4150022715" sldId="2463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DA76F29E-AB6B-4BF5-985F-5EF89D379ACC}" dt="2022-05-03T08:45:39.234" v="141"/>
          <ac:picMkLst>
            <pc:docMk/>
            <pc:sldMk cId="4150022715" sldId="2463"/>
            <ac:picMk id="9" creationId="{5A3DFB78-691C-2EEC-BCFD-10D9BA3E9DD2}"/>
          </ac:picMkLst>
        </pc:picChg>
      </pc:sldChg>
      <pc:sldChg chg="modSp">
        <pc:chgData name="Ana Isabel Silla Cortes" userId="S::asillaco@emeal.nttdata.com::b546b5c1-2aeb-468b-a361-4830835db4b0" providerId="AD" clId="Web-{DA76F29E-AB6B-4BF5-985F-5EF89D379ACC}" dt="2022-05-03T08:44:32.075" v="124" actId="20577"/>
        <pc:sldMkLst>
          <pc:docMk/>
          <pc:sldMk cId="854392975" sldId="2471"/>
        </pc:sldMkLst>
        <pc:spChg chg="mod">
          <ac:chgData name="Ana Isabel Silla Cortes" userId="S::asillaco@emeal.nttdata.com::b546b5c1-2aeb-468b-a361-4830835db4b0" providerId="AD" clId="Web-{DA76F29E-AB6B-4BF5-985F-5EF89D379ACC}" dt="2022-05-03T08:44:32.075" v="124" actId="20577"/>
          <ac:spMkLst>
            <pc:docMk/>
            <pc:sldMk cId="854392975" sldId="2471"/>
            <ac:spMk id="20" creationId="{EE2EB87E-F264-4765-9C66-FE84E21A3B66}"/>
          </ac:spMkLst>
        </pc:spChg>
      </pc:sldChg>
      <pc:sldChg chg="add replId">
        <pc:chgData name="Ana Isabel Silla Cortes" userId="S::asillaco@emeal.nttdata.com::b546b5c1-2aeb-468b-a361-4830835db4b0" providerId="AD" clId="Web-{DA76F29E-AB6B-4BF5-985F-5EF89D379ACC}" dt="2022-05-03T08:45:34.640" v="140"/>
        <pc:sldMkLst>
          <pc:docMk/>
          <pc:sldMk cId="3667929093" sldId="2475"/>
        </pc:sldMkLst>
      </pc:sldChg>
    </pc:docChg>
  </pc:docChgLst>
  <pc:docChgLst>
    <pc:chgData name="David Pastor Puyuelo" userId="S::dpastopu@emeal.nttdata.com::4ba541ea-9651-41d4-862c-06544bb5ec7b" providerId="AD" clId="Web-{C7495210-5992-442F-9CFD-B56B2A8E8BCC}"/>
    <pc:docChg chg="modSld">
      <pc:chgData name="David Pastor Puyuelo" userId="S::dpastopu@emeal.nttdata.com::4ba541ea-9651-41d4-862c-06544bb5ec7b" providerId="AD" clId="Web-{C7495210-5992-442F-9CFD-B56B2A8E8BCC}" dt="2022-04-29T10:01:44.791" v="206" actId="20577"/>
      <pc:docMkLst>
        <pc:docMk/>
      </pc:docMkLst>
      <pc:sldChg chg="modSp">
        <pc:chgData name="David Pastor Puyuelo" userId="S::dpastopu@emeal.nttdata.com::4ba541ea-9651-41d4-862c-06544bb5ec7b" providerId="AD" clId="Web-{C7495210-5992-442F-9CFD-B56B2A8E8BCC}" dt="2022-04-29T09:58:40.115" v="114" actId="20577"/>
        <pc:sldMkLst>
          <pc:docMk/>
          <pc:sldMk cId="981156525" sldId="2418"/>
        </pc:sldMkLst>
        <pc:spChg chg="mod">
          <ac:chgData name="David Pastor Puyuelo" userId="S::dpastopu@emeal.nttdata.com::4ba541ea-9651-41d4-862c-06544bb5ec7b" providerId="AD" clId="Web-{C7495210-5992-442F-9CFD-B56B2A8E8BCC}" dt="2022-04-29T09:58:40.115" v="114" actId="20577"/>
          <ac:spMkLst>
            <pc:docMk/>
            <pc:sldMk cId="981156525" sldId="2418"/>
            <ac:spMk id="2" creationId="{830EE9A9-04A7-6669-A951-D6117184AC85}"/>
          </ac:spMkLst>
        </pc:spChg>
      </pc:sldChg>
      <pc:sldChg chg="addSp delSp modSp">
        <pc:chgData name="David Pastor Puyuelo" userId="S::dpastopu@emeal.nttdata.com::4ba541ea-9651-41d4-862c-06544bb5ec7b" providerId="AD" clId="Web-{C7495210-5992-442F-9CFD-B56B2A8E8BCC}" dt="2022-04-29T10:01:44.791" v="206" actId="20577"/>
        <pc:sldMkLst>
          <pc:docMk/>
          <pc:sldMk cId="2002864901" sldId="2429"/>
        </pc:sldMkLst>
        <pc:spChg chg="add mod">
          <ac:chgData name="David Pastor Puyuelo" userId="S::dpastopu@emeal.nttdata.com::4ba541ea-9651-41d4-862c-06544bb5ec7b" providerId="AD" clId="Web-{C7495210-5992-442F-9CFD-B56B2A8E8BCC}" dt="2022-04-29T10:01:44.791" v="206" actId="20577"/>
          <ac:spMkLst>
            <pc:docMk/>
            <pc:sldMk cId="2002864901" sldId="2429"/>
            <ac:spMk id="9" creationId="{B7389055-ED77-4CBB-25AC-763AF829A1DC}"/>
          </ac:spMkLst>
        </pc:spChg>
        <pc:graphicFrameChg chg="add del mod modGraphic">
          <ac:chgData name="David Pastor Puyuelo" userId="S::dpastopu@emeal.nttdata.com::4ba541ea-9651-41d4-862c-06544bb5ec7b" providerId="AD" clId="Web-{C7495210-5992-442F-9CFD-B56B2A8E8BCC}" dt="2022-04-29T09:59:44.069" v="128"/>
          <ac:graphicFrameMkLst>
            <pc:docMk/>
            <pc:sldMk cId="2002864901" sldId="2429"/>
            <ac:graphicFrameMk id="11" creationId="{1E7B4C3A-F07A-D1A5-CEC6-32B424F22C79}"/>
          </ac:graphicFrameMkLst>
        </pc:graphicFrameChg>
        <pc:picChg chg="del">
          <ac:chgData name="David Pastor Puyuelo" userId="S::dpastopu@emeal.nttdata.com::4ba541ea-9651-41d4-862c-06544bb5ec7b" providerId="AD" clId="Web-{C7495210-5992-442F-9CFD-B56B2A8E8BCC}" dt="2022-04-29T09:54:56" v="5"/>
          <ac:picMkLst>
            <pc:docMk/>
            <pc:sldMk cId="2002864901" sldId="2429"/>
            <ac:picMk id="2" creationId="{00000000-0000-0000-0000-000000000000}"/>
          </ac:picMkLst>
        </pc:picChg>
        <pc:picChg chg="add del">
          <ac:chgData name="David Pastor Puyuelo" userId="S::dpastopu@emeal.nttdata.com::4ba541ea-9651-41d4-862c-06544bb5ec7b" providerId="AD" clId="Web-{C7495210-5992-442F-9CFD-B56B2A8E8BCC}" dt="2022-04-29T09:54:55.093" v="4"/>
          <ac:picMkLst>
            <pc:docMk/>
            <pc:sldMk cId="2002864901" sldId="2429"/>
            <ac:picMk id="4" creationId="{00000000-0000-0000-0000-000000000000}"/>
          </ac:picMkLst>
        </pc:picChg>
        <pc:picChg chg="add del mod">
          <ac:chgData name="David Pastor Puyuelo" userId="S::dpastopu@emeal.nttdata.com::4ba541ea-9651-41d4-862c-06544bb5ec7b" providerId="AD" clId="Web-{C7495210-5992-442F-9CFD-B56B2A8E8BCC}" dt="2022-04-29T09:54:49.937" v="2"/>
          <ac:picMkLst>
            <pc:docMk/>
            <pc:sldMk cId="2002864901" sldId="2429"/>
            <ac:picMk id="6" creationId="{28656939-4326-83C8-ECBB-F58C090E4E64}"/>
          </ac:picMkLst>
        </pc:picChg>
        <pc:picChg chg="add mod">
          <ac:chgData name="David Pastor Puyuelo" userId="S::dpastopu@emeal.nttdata.com::4ba541ea-9651-41d4-862c-06544bb5ec7b" providerId="AD" clId="Web-{C7495210-5992-442F-9CFD-B56B2A8E8BCC}" dt="2022-04-29T09:59:06.725" v="115" actId="1076"/>
          <ac:picMkLst>
            <pc:docMk/>
            <pc:sldMk cId="2002864901" sldId="2429"/>
            <ac:picMk id="7" creationId="{BF960F76-702B-8796-CF94-BBD641F5850E}"/>
          </ac:picMkLst>
        </pc:picChg>
      </pc:sldChg>
      <pc:sldChg chg="addSp modSp">
        <pc:chgData name="David Pastor Puyuelo" userId="S::dpastopu@emeal.nttdata.com::4ba541ea-9651-41d4-862c-06544bb5ec7b" providerId="AD" clId="Web-{C7495210-5992-442F-9CFD-B56B2A8E8BCC}" dt="2022-04-29T09:56:31.377" v="18" actId="1076"/>
        <pc:sldMkLst>
          <pc:docMk/>
          <pc:sldMk cId="2485783394" sldId="2430"/>
        </pc:sldMkLst>
        <pc:picChg chg="add mod">
          <ac:chgData name="David Pastor Puyuelo" userId="S::dpastopu@emeal.nttdata.com::4ba541ea-9651-41d4-862c-06544bb5ec7b" providerId="AD" clId="Web-{C7495210-5992-442F-9CFD-B56B2A8E8BCC}" dt="2022-04-29T09:56:31.377" v="18" actId="1076"/>
          <ac:picMkLst>
            <pc:docMk/>
            <pc:sldMk cId="2485783394" sldId="2430"/>
            <ac:picMk id="2" creationId="{27BA2D3C-6FB2-8B9D-90F5-762316FEA31E}"/>
          </ac:picMkLst>
        </pc:picChg>
        <pc:picChg chg="mod">
          <ac:chgData name="David Pastor Puyuelo" userId="S::dpastopu@emeal.nttdata.com::4ba541ea-9651-41d4-862c-06544bb5ec7b" providerId="AD" clId="Web-{C7495210-5992-442F-9CFD-B56B2A8E8BCC}" dt="2022-04-29T09:56:25.471" v="17" actId="1076"/>
          <ac:picMkLst>
            <pc:docMk/>
            <pc:sldMk cId="2485783394" sldId="2430"/>
            <ac:picMk id="6" creationId="{F0743334-4DD0-B4A8-CC16-ADB839E236C5}"/>
          </ac:picMkLst>
        </pc:picChg>
      </pc:sldChg>
    </pc:docChg>
  </pc:docChgLst>
  <pc:docChgLst>
    <pc:chgData name="David Pastor Puyuelo" userId="S::dpastopu@emeal.nttdata.com::4ba541ea-9651-41d4-862c-06544bb5ec7b" providerId="AD" clId="Web-{78F324B7-2F71-6F2D-F1FA-BF340C9767B6}"/>
    <pc:docChg chg="modSld">
      <pc:chgData name="David Pastor Puyuelo" userId="S::dpastopu@emeal.nttdata.com::4ba541ea-9651-41d4-862c-06544bb5ec7b" providerId="AD" clId="Web-{78F324B7-2F71-6F2D-F1FA-BF340C9767B6}" dt="2022-05-04T16:03:15.008" v="76" actId="1076"/>
      <pc:docMkLst>
        <pc:docMk/>
      </pc:docMkLst>
      <pc:sldChg chg="addSp delSp modSp">
        <pc:chgData name="David Pastor Puyuelo" userId="S::dpastopu@emeal.nttdata.com::4ba541ea-9651-41d4-862c-06544bb5ec7b" providerId="AD" clId="Web-{78F324B7-2F71-6F2D-F1FA-BF340C9767B6}" dt="2022-05-04T16:03:15.008" v="76" actId="1076"/>
        <pc:sldMkLst>
          <pc:docMk/>
          <pc:sldMk cId="981156525" sldId="2418"/>
        </pc:sldMkLst>
        <pc:spChg chg="mod">
          <ac:chgData name="David Pastor Puyuelo" userId="S::dpastopu@emeal.nttdata.com::4ba541ea-9651-41d4-862c-06544bb5ec7b" providerId="AD" clId="Web-{78F324B7-2F71-6F2D-F1FA-BF340C9767B6}" dt="2022-05-04T15:58:18.234" v="49" actId="20577"/>
          <ac:spMkLst>
            <pc:docMk/>
            <pc:sldMk cId="981156525" sldId="2418"/>
            <ac:spMk id="2" creationId="{830EE9A9-04A7-6669-A951-D6117184AC85}"/>
          </ac:spMkLst>
        </pc:spChg>
        <pc:picChg chg="add del mod">
          <ac:chgData name="David Pastor Puyuelo" userId="S::dpastopu@emeal.nttdata.com::4ba541ea-9651-41d4-862c-06544bb5ec7b" providerId="AD" clId="Web-{78F324B7-2F71-6F2D-F1FA-BF340C9767B6}" dt="2022-05-04T16:02:32.242" v="63"/>
          <ac:picMkLst>
            <pc:docMk/>
            <pc:sldMk cId="981156525" sldId="2418"/>
            <ac:picMk id="4" creationId="{2685820C-415A-FCD7-BA85-07D5F01196E7}"/>
          </ac:picMkLst>
        </pc:picChg>
        <pc:picChg chg="add mod">
          <ac:chgData name="David Pastor Puyuelo" userId="S::dpastopu@emeal.nttdata.com::4ba541ea-9651-41d4-862c-06544bb5ec7b" providerId="AD" clId="Web-{78F324B7-2F71-6F2D-F1FA-BF340C9767B6}" dt="2022-05-04T16:03:15.008" v="76" actId="1076"/>
          <ac:picMkLst>
            <pc:docMk/>
            <pc:sldMk cId="981156525" sldId="2418"/>
            <ac:picMk id="6" creationId="{0070840F-73AA-DE4E-1252-2B17D95810D7}"/>
          </ac:picMkLst>
        </pc:picChg>
        <pc:picChg chg="add del mod ord">
          <ac:chgData name="David Pastor Puyuelo" userId="S::dpastopu@emeal.nttdata.com::4ba541ea-9651-41d4-862c-06544bb5ec7b" providerId="AD" clId="Web-{78F324B7-2F71-6F2D-F1FA-BF340C9767B6}" dt="2022-05-04T16:02:54.320" v="70"/>
          <ac:picMkLst>
            <pc:docMk/>
            <pc:sldMk cId="981156525" sldId="2418"/>
            <ac:picMk id="7" creationId="{F09A1AB4-6C19-59B6-C2BE-27AE53324E0B}"/>
          </ac:picMkLst>
        </pc:picChg>
        <pc:picChg chg="add mod ord">
          <ac:chgData name="David Pastor Puyuelo" userId="S::dpastopu@emeal.nttdata.com::4ba541ea-9651-41d4-862c-06544bb5ec7b" providerId="AD" clId="Web-{78F324B7-2F71-6F2D-F1FA-BF340C9767B6}" dt="2022-05-04T16:03:12.086" v="75"/>
          <ac:picMkLst>
            <pc:docMk/>
            <pc:sldMk cId="981156525" sldId="2418"/>
            <ac:picMk id="9" creationId="{01D85D70-056D-32B5-A4BD-B728AA723D9E}"/>
          </ac:picMkLst>
        </pc:picChg>
      </pc:sldChg>
      <pc:sldChg chg="modSp">
        <pc:chgData name="David Pastor Puyuelo" userId="S::dpastopu@emeal.nttdata.com::4ba541ea-9651-41d4-862c-06544bb5ec7b" providerId="AD" clId="Web-{78F324B7-2F71-6F2D-F1FA-BF340C9767B6}" dt="2022-05-04T16:01:27.255" v="62" actId="20577"/>
        <pc:sldMkLst>
          <pc:docMk/>
          <pc:sldMk cId="2002864901" sldId="2429"/>
        </pc:sldMkLst>
        <pc:spChg chg="mod">
          <ac:chgData name="David Pastor Puyuelo" userId="S::dpastopu@emeal.nttdata.com::4ba541ea-9651-41d4-862c-06544bb5ec7b" providerId="AD" clId="Web-{78F324B7-2F71-6F2D-F1FA-BF340C9767B6}" dt="2022-05-04T16:01:27.255" v="62" actId="20577"/>
          <ac:spMkLst>
            <pc:docMk/>
            <pc:sldMk cId="2002864901" sldId="2429"/>
            <ac:spMk id="9" creationId="{B7389055-ED77-4CBB-25AC-763AF829A1DC}"/>
          </ac:spMkLst>
        </pc:spChg>
        <pc:picChg chg="mod">
          <ac:chgData name="David Pastor Puyuelo" userId="S::dpastopu@emeal.nttdata.com::4ba541ea-9651-41d4-862c-06544bb5ec7b" providerId="AD" clId="Web-{78F324B7-2F71-6F2D-F1FA-BF340C9767B6}" dt="2022-05-04T16:00:56.957" v="54" actId="1076"/>
          <ac:picMkLst>
            <pc:docMk/>
            <pc:sldMk cId="2002864901" sldId="2429"/>
            <ac:picMk id="2" creationId="{3BDCAC5F-230D-484F-A916-8CB580113745}"/>
          </ac:picMkLst>
        </pc:picChg>
      </pc:sldChg>
      <pc:sldChg chg="addSp delSp modSp">
        <pc:chgData name="David Pastor Puyuelo" userId="S::dpastopu@emeal.nttdata.com::4ba541ea-9651-41d4-862c-06544bb5ec7b" providerId="AD" clId="Web-{78F324B7-2F71-6F2D-F1FA-BF340C9767B6}" dt="2022-05-04T15:42:05.534" v="10" actId="14100"/>
        <pc:sldMkLst>
          <pc:docMk/>
          <pc:sldMk cId="2485783394" sldId="2430"/>
        </pc:sldMkLst>
        <pc:picChg chg="add del mod">
          <ac:chgData name="David Pastor Puyuelo" userId="S::dpastopu@emeal.nttdata.com::4ba541ea-9651-41d4-862c-06544bb5ec7b" providerId="AD" clId="Web-{78F324B7-2F71-6F2D-F1FA-BF340C9767B6}" dt="2022-05-04T15:41:37.065" v="4"/>
          <ac:picMkLst>
            <pc:docMk/>
            <pc:sldMk cId="2485783394" sldId="2430"/>
            <ac:picMk id="2" creationId="{034799F4-27DB-2CB6-403A-F49C98C800CD}"/>
          </ac:picMkLst>
        </pc:picChg>
        <pc:picChg chg="del">
          <ac:chgData name="David Pastor Puyuelo" userId="S::dpastopu@emeal.nttdata.com::4ba541ea-9651-41d4-862c-06544bb5ec7b" providerId="AD" clId="Web-{78F324B7-2F71-6F2D-F1FA-BF340C9767B6}" dt="2022-05-04T15:35:58.133" v="0"/>
          <ac:picMkLst>
            <pc:docMk/>
            <pc:sldMk cId="2485783394" sldId="2430"/>
            <ac:picMk id="4" creationId="{D96A65E6-2275-30E9-87F8-9EEF16E7EB76}"/>
          </ac:picMkLst>
        </pc:picChg>
        <pc:picChg chg="add mod">
          <ac:chgData name="David Pastor Puyuelo" userId="S::dpastopu@emeal.nttdata.com::4ba541ea-9651-41d4-862c-06544bb5ec7b" providerId="AD" clId="Web-{78F324B7-2F71-6F2D-F1FA-BF340C9767B6}" dt="2022-05-04T15:42:05.534" v="10" actId="14100"/>
          <ac:picMkLst>
            <pc:docMk/>
            <pc:sldMk cId="2485783394" sldId="2430"/>
            <ac:picMk id="7" creationId="{3ACA05DA-9B0F-45C3-0C68-8D85D3A35885}"/>
          </ac:picMkLst>
        </pc:picChg>
      </pc:sldChg>
    </pc:docChg>
  </pc:docChgLst>
  <pc:docChgLst>
    <pc:chgData name="Ana Isabel Silla Cortes" userId="S::asillaco@emeal.nttdata.com::b546b5c1-2aeb-468b-a361-4830835db4b0" providerId="AD" clId="Web-{FC211073-F62C-4E20-98C4-6AC6A08C3CC7}"/>
    <pc:docChg chg="addSld delSld modSld sldOrd modSection">
      <pc:chgData name="Ana Isabel Silla Cortes" userId="S::asillaco@emeal.nttdata.com::b546b5c1-2aeb-468b-a361-4830835db4b0" providerId="AD" clId="Web-{FC211073-F62C-4E20-98C4-6AC6A08C3CC7}" dt="2022-05-03T09:43:25.855" v="232" actId="20577"/>
      <pc:docMkLst>
        <pc:docMk/>
      </pc:docMkLst>
      <pc:sldChg chg="modSp">
        <pc:chgData name="Ana Isabel Silla Cortes" userId="S::asillaco@emeal.nttdata.com::b546b5c1-2aeb-468b-a361-4830835db4b0" providerId="AD" clId="Web-{FC211073-F62C-4E20-98C4-6AC6A08C3CC7}" dt="2022-05-03T09:43:25.855" v="232" actId="20577"/>
        <pc:sldMkLst>
          <pc:docMk/>
          <pc:sldMk cId="3678979713" sldId="2451"/>
        </pc:sldMkLst>
        <pc:spChg chg="mod">
          <ac:chgData name="Ana Isabel Silla Cortes" userId="S::asillaco@emeal.nttdata.com::b546b5c1-2aeb-468b-a361-4830835db4b0" providerId="AD" clId="Web-{FC211073-F62C-4E20-98C4-6AC6A08C3CC7}" dt="2022-05-03T09:43:25.855" v="232" actId="20577"/>
          <ac:spMkLst>
            <pc:docMk/>
            <pc:sldMk cId="3678979713" sldId="2451"/>
            <ac:spMk id="9" creationId="{540377F8-1E00-40B6-6D85-A772711F372A}"/>
          </ac:spMkLst>
        </pc:spChg>
      </pc:sldChg>
      <pc:sldChg chg="addSp modSp">
        <pc:chgData name="Ana Isabel Silla Cortes" userId="S::asillaco@emeal.nttdata.com::b546b5c1-2aeb-468b-a361-4830835db4b0" providerId="AD" clId="Web-{FC211073-F62C-4E20-98C4-6AC6A08C3CC7}" dt="2022-05-03T09:23:50.631" v="13" actId="20577"/>
        <pc:sldMkLst>
          <pc:docMk/>
          <pc:sldMk cId="4150022715" sldId="2463"/>
        </pc:sldMkLst>
        <pc:spChg chg="mod">
          <ac:chgData name="Ana Isabel Silla Cortes" userId="S::asillaco@emeal.nttdata.com::b546b5c1-2aeb-468b-a361-4830835db4b0" providerId="AD" clId="Web-{FC211073-F62C-4E20-98C4-6AC6A08C3CC7}" dt="2022-05-03T09:23:50.631" v="13" actId="20577"/>
          <ac:spMkLst>
            <pc:docMk/>
            <pc:sldMk cId="4150022715" sldId="2463"/>
            <ac:spMk id="28" creationId="{DD453CE2-6FED-4720-8043-DBD1D2185AE1}"/>
          </ac:spMkLst>
        </pc:spChg>
        <pc:picChg chg="add mod">
          <ac:chgData name="Ana Isabel Silla Cortes" userId="S::asillaco@emeal.nttdata.com::b546b5c1-2aeb-468b-a361-4830835db4b0" providerId="AD" clId="Web-{FC211073-F62C-4E20-98C4-6AC6A08C3CC7}" dt="2022-05-03T09:23:26.412" v="5" actId="14100"/>
          <ac:picMkLst>
            <pc:docMk/>
            <pc:sldMk cId="4150022715" sldId="2463"/>
            <ac:picMk id="2" creationId="{A0A0BA5B-5E37-5346-3418-EE6DD20845C1}"/>
          </ac:picMkLst>
        </pc:picChg>
      </pc:sldChg>
      <pc:sldChg chg="modSp">
        <pc:chgData name="Ana Isabel Silla Cortes" userId="S::asillaco@emeal.nttdata.com::b546b5c1-2aeb-468b-a361-4830835db4b0" providerId="AD" clId="Web-{FC211073-F62C-4E20-98C4-6AC6A08C3CC7}" dt="2022-05-03T09:41:17.867" v="173" actId="20577"/>
        <pc:sldMkLst>
          <pc:docMk/>
          <pc:sldMk cId="4060694875" sldId="2469"/>
        </pc:sldMkLst>
        <pc:spChg chg="mod">
          <ac:chgData name="Ana Isabel Silla Cortes" userId="S::asillaco@emeal.nttdata.com::b546b5c1-2aeb-468b-a361-4830835db4b0" providerId="AD" clId="Web-{FC211073-F62C-4E20-98C4-6AC6A08C3CC7}" dt="2022-05-03T09:41:17.867" v="173" actId="20577"/>
          <ac:spMkLst>
            <pc:docMk/>
            <pc:sldMk cId="4060694875" sldId="2469"/>
            <ac:spMk id="2" creationId="{4BBBE611-8AAB-382C-0782-56AB5D6BBDFA}"/>
          </ac:spMkLst>
        </pc:spChg>
      </pc:sldChg>
      <pc:sldChg chg="addSp delSp modSp del">
        <pc:chgData name="Ana Isabel Silla Cortes" userId="S::asillaco@emeal.nttdata.com::b546b5c1-2aeb-468b-a361-4830835db4b0" providerId="AD" clId="Web-{FC211073-F62C-4E20-98C4-6AC6A08C3CC7}" dt="2022-05-03T09:31:55.974" v="27"/>
        <pc:sldMkLst>
          <pc:docMk/>
          <pc:sldMk cId="3667929093" sldId="2475"/>
        </pc:sldMkLst>
        <pc:picChg chg="add del mod">
          <ac:chgData name="Ana Isabel Silla Cortes" userId="S::asillaco@emeal.nttdata.com::b546b5c1-2aeb-468b-a361-4830835db4b0" providerId="AD" clId="Web-{FC211073-F62C-4E20-98C4-6AC6A08C3CC7}" dt="2022-05-03T09:31:45.396" v="24"/>
          <ac:picMkLst>
            <pc:docMk/>
            <pc:sldMk cId="3667929093" sldId="2475"/>
            <ac:picMk id="2" creationId="{83D43307-09EF-A815-6613-97C9C2D9B38C}"/>
          </ac:picMkLst>
        </pc:picChg>
        <pc:picChg chg="del">
          <ac:chgData name="Ana Isabel Silla Cortes" userId="S::asillaco@emeal.nttdata.com::b546b5c1-2aeb-468b-a361-4830835db4b0" providerId="AD" clId="Web-{FC211073-F62C-4E20-98C4-6AC6A08C3CC7}" dt="2022-05-03T09:31:41.350" v="22"/>
          <ac:picMkLst>
            <pc:docMk/>
            <pc:sldMk cId="3667929093" sldId="2475"/>
            <ac:picMk id="9" creationId="{5A3DFB78-691C-2EEC-BCFD-10D9BA3E9DD2}"/>
          </ac:picMkLst>
        </pc:picChg>
      </pc:sldChg>
      <pc:sldChg chg="addSp delSp modSp new del">
        <pc:chgData name="Ana Isabel Silla Cortes" userId="S::asillaco@emeal.nttdata.com::b546b5c1-2aeb-468b-a361-4830835db4b0" providerId="AD" clId="Web-{FC211073-F62C-4E20-98C4-6AC6A08C3CC7}" dt="2022-05-03T09:24:04.147" v="16"/>
        <pc:sldMkLst>
          <pc:docMk/>
          <pc:sldMk cId="1180368376" sldId="2478"/>
        </pc:sldMkLst>
        <pc:spChg chg="del">
          <ac:chgData name="Ana Isabel Silla Cortes" userId="S::asillaco@emeal.nttdata.com::b546b5c1-2aeb-468b-a361-4830835db4b0" providerId="AD" clId="Web-{FC211073-F62C-4E20-98C4-6AC6A08C3CC7}" dt="2022-05-03T09:22:34.129" v="1"/>
          <ac:spMkLst>
            <pc:docMk/>
            <pc:sldMk cId="1180368376" sldId="2478"/>
            <ac:spMk id="3" creationId="{FAD1E752-5965-5369-A9F9-5C50BCE8DBBA}"/>
          </ac:spMkLst>
        </pc:spChg>
        <pc:spChg chg="add del mod">
          <ac:chgData name="Ana Isabel Silla Cortes" userId="S::asillaco@emeal.nttdata.com::b546b5c1-2aeb-468b-a361-4830835db4b0" providerId="AD" clId="Web-{FC211073-F62C-4E20-98C4-6AC6A08C3CC7}" dt="2022-05-03T09:23:33.396" v="7"/>
          <ac:spMkLst>
            <pc:docMk/>
            <pc:sldMk cId="1180368376" sldId="2478"/>
            <ac:spMk id="7" creationId="{8CF00BCC-3FCC-5CBE-288B-8CABC05D0813}"/>
          </ac:spMkLst>
        </pc:spChg>
        <pc:picChg chg="add del mod ord">
          <ac:chgData name="Ana Isabel Silla Cortes" userId="S::asillaco@emeal.nttdata.com::b546b5c1-2aeb-468b-a361-4830835db4b0" providerId="AD" clId="Web-{FC211073-F62C-4E20-98C4-6AC6A08C3CC7}" dt="2022-05-03T09:23:32.334" v="6"/>
          <ac:picMkLst>
            <pc:docMk/>
            <pc:sldMk cId="1180368376" sldId="2478"/>
            <ac:picMk id="5" creationId="{4F6D2C83-1538-83D1-8E8E-351C0C7A1F29}"/>
          </ac:picMkLst>
        </pc:picChg>
        <pc:picChg chg="add mod ord">
          <ac:chgData name="Ana Isabel Silla Cortes" userId="S::asillaco@emeal.nttdata.com::b546b5c1-2aeb-468b-a361-4830835db4b0" providerId="AD" clId="Web-{FC211073-F62C-4E20-98C4-6AC6A08C3CC7}" dt="2022-05-03T09:23:33.396" v="7"/>
          <ac:picMkLst>
            <pc:docMk/>
            <pc:sldMk cId="1180368376" sldId="2478"/>
            <ac:picMk id="8" creationId="{526B42BD-0723-7459-D2A9-26BD14B72355}"/>
          </ac:picMkLst>
        </pc:picChg>
      </pc:sldChg>
      <pc:sldChg chg="addSp delSp modSp add replId">
        <pc:chgData name="Ana Isabel Silla Cortes" userId="S::asillaco@emeal.nttdata.com::b546b5c1-2aeb-468b-a361-4830835db4b0" providerId="AD" clId="Web-{FC211073-F62C-4E20-98C4-6AC6A08C3CC7}" dt="2022-05-03T09:23:59.553" v="15" actId="1076"/>
        <pc:sldMkLst>
          <pc:docMk/>
          <pc:sldMk cId="2288966332" sldId="2479"/>
        </pc:sldMkLst>
        <pc:spChg chg="mod">
          <ac:chgData name="Ana Isabel Silla Cortes" userId="S::asillaco@emeal.nttdata.com::b546b5c1-2aeb-468b-a361-4830835db4b0" providerId="AD" clId="Web-{FC211073-F62C-4E20-98C4-6AC6A08C3CC7}" dt="2022-05-03T09:23:56.631" v="14" actId="20577"/>
          <ac:spMkLst>
            <pc:docMk/>
            <pc:sldMk cId="2288966332" sldId="2479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FC211073-F62C-4E20-98C4-6AC6A08C3CC7}" dt="2022-05-03T09:23:39.474" v="9"/>
          <ac:picMkLst>
            <pc:docMk/>
            <pc:sldMk cId="2288966332" sldId="2479"/>
            <ac:picMk id="2" creationId="{A0A0BA5B-5E37-5346-3418-EE6DD20845C1}"/>
          </ac:picMkLst>
        </pc:picChg>
        <pc:picChg chg="add mod">
          <ac:chgData name="Ana Isabel Silla Cortes" userId="S::asillaco@emeal.nttdata.com::b546b5c1-2aeb-468b-a361-4830835db4b0" providerId="AD" clId="Web-{FC211073-F62C-4E20-98C4-6AC6A08C3CC7}" dt="2022-05-03T09:23:59.553" v="15" actId="1076"/>
          <ac:picMkLst>
            <pc:docMk/>
            <pc:sldMk cId="2288966332" sldId="2479"/>
            <ac:picMk id="4" creationId="{C76AD452-57FE-F60A-FE3E-BF5C45561F45}"/>
          </ac:picMkLst>
        </pc:picChg>
      </pc:sldChg>
      <pc:sldChg chg="addSp delSp modSp new del">
        <pc:chgData name="Ana Isabel Silla Cortes" userId="S::asillaco@emeal.nttdata.com::b546b5c1-2aeb-468b-a361-4830835db4b0" providerId="AD" clId="Web-{FC211073-F62C-4E20-98C4-6AC6A08C3CC7}" dt="2022-05-03T09:36:47.609" v="68"/>
        <pc:sldMkLst>
          <pc:docMk/>
          <pc:sldMk cId="1278302536" sldId="2480"/>
        </pc:sldMkLst>
        <pc:spChg chg="del">
          <ac:chgData name="Ana Isabel Silla Cortes" userId="S::asillaco@emeal.nttdata.com::b546b5c1-2aeb-468b-a361-4830835db4b0" providerId="AD" clId="Web-{FC211073-F62C-4E20-98C4-6AC6A08C3CC7}" dt="2022-05-03T09:26:17.151" v="18"/>
          <ac:spMkLst>
            <pc:docMk/>
            <pc:sldMk cId="1278302536" sldId="2480"/>
            <ac:spMk id="3" creationId="{72D63DD9-5151-74B6-B6B4-74E5D620E365}"/>
          </ac:spMkLst>
        </pc:spChg>
        <pc:spChg chg="add del mod">
          <ac:chgData name="Ana Isabel Silla Cortes" userId="S::asillaco@emeal.nttdata.com::b546b5c1-2aeb-468b-a361-4830835db4b0" providerId="AD" clId="Web-{FC211073-F62C-4E20-98C4-6AC6A08C3CC7}" dt="2022-05-03T09:32:04.131" v="29"/>
          <ac:spMkLst>
            <pc:docMk/>
            <pc:sldMk cId="1278302536" sldId="2480"/>
            <ac:spMk id="7" creationId="{D396C5EF-AFA8-B9DC-48A1-51155DE9254B}"/>
          </ac:spMkLst>
        </pc:spChg>
        <pc:picChg chg="add del mod ord">
          <ac:chgData name="Ana Isabel Silla Cortes" userId="S::asillaco@emeal.nttdata.com::b546b5c1-2aeb-468b-a361-4830835db4b0" providerId="AD" clId="Web-{FC211073-F62C-4E20-98C4-6AC6A08C3CC7}" dt="2022-05-03T09:31:59.318" v="28"/>
          <ac:picMkLst>
            <pc:docMk/>
            <pc:sldMk cId="1278302536" sldId="2480"/>
            <ac:picMk id="5" creationId="{1A11303B-DFA5-254F-F2CB-26CA17B8CB0E}"/>
          </ac:picMkLst>
        </pc:picChg>
        <pc:picChg chg="add mod ord">
          <ac:chgData name="Ana Isabel Silla Cortes" userId="S::asillaco@emeal.nttdata.com::b546b5c1-2aeb-468b-a361-4830835db4b0" providerId="AD" clId="Web-{FC211073-F62C-4E20-98C4-6AC6A08C3CC7}" dt="2022-05-03T09:32:04.131" v="29"/>
          <ac:picMkLst>
            <pc:docMk/>
            <pc:sldMk cId="1278302536" sldId="2480"/>
            <ac:picMk id="8" creationId="{F71B9824-A816-4EF6-DD22-92310D8C4CC8}"/>
          </ac:picMkLst>
        </pc:picChg>
      </pc:sldChg>
      <pc:sldChg chg="addSp delSp modSp add replId">
        <pc:chgData name="Ana Isabel Silla Cortes" userId="S::asillaco@emeal.nttdata.com::b546b5c1-2aeb-468b-a361-4830835db4b0" providerId="AD" clId="Web-{FC211073-F62C-4E20-98C4-6AC6A08C3CC7}" dt="2022-05-03T09:38:30.659" v="81" actId="20577"/>
        <pc:sldMkLst>
          <pc:docMk/>
          <pc:sldMk cId="234030538" sldId="2481"/>
        </pc:sldMkLst>
        <pc:spChg chg="add del mod">
          <ac:chgData name="Ana Isabel Silla Cortes" userId="S::asillaco@emeal.nttdata.com::b546b5c1-2aeb-468b-a361-4830835db4b0" providerId="AD" clId="Web-{FC211073-F62C-4E20-98C4-6AC6A08C3CC7}" dt="2022-05-03T09:35:16.621" v="44"/>
          <ac:spMkLst>
            <pc:docMk/>
            <pc:sldMk cId="234030538" sldId="2481"/>
            <ac:spMk id="4" creationId="{2D5F2C22-8C4E-4F18-1D9A-70AD356C1661}"/>
          </ac:spMkLst>
        </pc:spChg>
        <pc:spChg chg="add mod">
          <ac:chgData name="Ana Isabel Silla Cortes" userId="S::asillaco@emeal.nttdata.com::b546b5c1-2aeb-468b-a361-4830835db4b0" providerId="AD" clId="Web-{FC211073-F62C-4E20-98C4-6AC6A08C3CC7}" dt="2022-05-03T09:38:30.659" v="81" actId="20577"/>
          <ac:spMkLst>
            <pc:docMk/>
            <pc:sldMk cId="234030538" sldId="2481"/>
            <ac:spMk id="6" creationId="{5DF0292B-3337-AAB3-2CA1-888177866CCB}"/>
          </ac:spMkLst>
        </pc:spChg>
        <pc:picChg chg="add del mod">
          <ac:chgData name="Ana Isabel Silla Cortes" userId="S::asillaco@emeal.nttdata.com::b546b5c1-2aeb-468b-a361-4830835db4b0" providerId="AD" clId="Web-{FC211073-F62C-4E20-98C4-6AC6A08C3CC7}" dt="2022-05-03T09:35:34.763" v="50"/>
          <ac:picMkLst>
            <pc:docMk/>
            <pc:sldMk cId="234030538" sldId="2481"/>
            <ac:picMk id="2" creationId="{F5DDCA36-05D0-C425-B766-0F767A6FD6BC}"/>
          </ac:picMkLst>
        </pc:picChg>
        <pc:picChg chg="del">
          <ac:chgData name="Ana Isabel Silla Cortes" userId="S::asillaco@emeal.nttdata.com::b546b5c1-2aeb-468b-a361-4830835db4b0" providerId="AD" clId="Web-{FC211073-F62C-4E20-98C4-6AC6A08C3CC7}" dt="2022-05-03T09:26:29.511" v="20"/>
          <ac:picMkLst>
            <pc:docMk/>
            <pc:sldMk cId="234030538" sldId="2481"/>
            <ac:picMk id="9" creationId="{5A3DFB78-691C-2EEC-BCFD-10D9BA3E9DD2}"/>
          </ac:picMkLst>
        </pc:picChg>
      </pc:sldChg>
      <pc:sldChg chg="modSp add ord replId">
        <pc:chgData name="Ana Isabel Silla Cortes" userId="S::asillaco@emeal.nttdata.com::b546b5c1-2aeb-468b-a361-4830835db4b0" providerId="AD" clId="Web-{FC211073-F62C-4E20-98C4-6AC6A08C3CC7}" dt="2022-05-03T09:38:49.784" v="83" actId="20577"/>
        <pc:sldMkLst>
          <pc:docMk/>
          <pc:sldMk cId="3302930" sldId="2482"/>
        </pc:sldMkLst>
        <pc:spChg chg="mod">
          <ac:chgData name="Ana Isabel Silla Cortes" userId="S::asillaco@emeal.nttdata.com::b546b5c1-2aeb-468b-a361-4830835db4b0" providerId="AD" clId="Web-{FC211073-F62C-4E20-98C4-6AC6A08C3CC7}" dt="2022-05-03T09:38:49.784" v="83" actId="20577"/>
          <ac:spMkLst>
            <pc:docMk/>
            <pc:sldMk cId="3302930" sldId="2482"/>
            <ac:spMk id="28" creationId="{DD453CE2-6FED-4720-8043-DBD1D2185AE1}"/>
          </ac:spMkLst>
        </pc:spChg>
      </pc:sldChg>
      <pc:sldChg chg="addSp delSp modSp add del replId">
        <pc:chgData name="Ana Isabel Silla Cortes" userId="S::asillaco@emeal.nttdata.com::b546b5c1-2aeb-468b-a361-4830835db4b0" providerId="AD" clId="Web-{FC211073-F62C-4E20-98C4-6AC6A08C3CC7}" dt="2022-05-03T09:31:50.271" v="26"/>
        <pc:sldMkLst>
          <pc:docMk/>
          <pc:sldMk cId="1259396947" sldId="2482"/>
        </pc:sldMkLst>
        <pc:spChg chg="add mod">
          <ac:chgData name="Ana Isabel Silla Cortes" userId="S::asillaco@emeal.nttdata.com::b546b5c1-2aeb-468b-a361-4830835db4b0" providerId="AD" clId="Web-{FC211073-F62C-4E20-98C4-6AC6A08C3CC7}" dt="2022-05-03T09:31:49.162" v="25"/>
          <ac:spMkLst>
            <pc:docMk/>
            <pc:sldMk cId="1259396947" sldId="2482"/>
            <ac:spMk id="6" creationId="{6A2CD706-658E-070E-077F-35979DBCF5A9}"/>
          </ac:spMkLst>
        </pc:spChg>
        <pc:picChg chg="del">
          <ac:chgData name="Ana Isabel Silla Cortes" userId="S::asillaco@emeal.nttdata.com::b546b5c1-2aeb-468b-a361-4830835db4b0" providerId="AD" clId="Web-{FC211073-F62C-4E20-98C4-6AC6A08C3CC7}" dt="2022-05-03T09:31:49.162" v="25"/>
          <ac:picMkLst>
            <pc:docMk/>
            <pc:sldMk cId="1259396947" sldId="2482"/>
            <ac:picMk id="5" creationId="{1A11303B-DFA5-254F-F2CB-26CA17B8CB0E}"/>
          </ac:picMkLst>
        </pc:picChg>
      </pc:sldChg>
    </pc:docChg>
  </pc:docChgLst>
  <pc:docChgLst>
    <pc:chgData name="Ana Isabel Silla Cortes" userId="S::asillaco@emeal.nttdata.com::b546b5c1-2aeb-468b-a361-4830835db4b0" providerId="AD" clId="Web-{39FDA969-2AC5-4548-9DE0-4E4F5087584D}"/>
    <pc:docChg chg="modSld">
      <pc:chgData name="Ana Isabel Silla Cortes" userId="S::asillaco@emeal.nttdata.com::b546b5c1-2aeb-468b-a361-4830835db4b0" providerId="AD" clId="Web-{39FDA969-2AC5-4548-9DE0-4E4F5087584D}" dt="2022-05-04T14:01:24.205" v="56" actId="20577"/>
      <pc:docMkLst>
        <pc:docMk/>
      </pc:docMkLst>
      <pc:sldChg chg="modSp">
        <pc:chgData name="Ana Isabel Silla Cortes" userId="S::asillaco@emeal.nttdata.com::b546b5c1-2aeb-468b-a361-4830835db4b0" providerId="AD" clId="Web-{39FDA969-2AC5-4548-9DE0-4E4F5087584D}" dt="2022-05-04T14:01:24.205" v="56" actId="20577"/>
        <pc:sldMkLst>
          <pc:docMk/>
          <pc:sldMk cId="2002864901" sldId="2429"/>
        </pc:sldMkLst>
        <pc:spChg chg="mod">
          <ac:chgData name="Ana Isabel Silla Cortes" userId="S::asillaco@emeal.nttdata.com::b546b5c1-2aeb-468b-a361-4830835db4b0" providerId="AD" clId="Web-{39FDA969-2AC5-4548-9DE0-4E4F5087584D}" dt="2022-05-04T14:01:24.205" v="56" actId="20577"/>
          <ac:spMkLst>
            <pc:docMk/>
            <pc:sldMk cId="2002864901" sldId="2429"/>
            <ac:spMk id="9" creationId="{B7389055-ED77-4CBB-25AC-763AF829A1DC}"/>
          </ac:spMkLst>
        </pc:spChg>
      </pc:sldChg>
    </pc:docChg>
  </pc:docChgLst>
  <pc:docChgLst>
    <pc:chgData name="Ana Isabel Silla Cortes" userId="S::asillaco@emeal.nttdata.com::b546b5c1-2aeb-468b-a361-4830835db4b0" providerId="AD" clId="Web-{0B3DF2B8-8AFF-410A-96E1-E52D53AF69F1}"/>
    <pc:docChg chg="modSld">
      <pc:chgData name="Ana Isabel Silla Cortes" userId="S::asillaco@emeal.nttdata.com::b546b5c1-2aeb-468b-a361-4830835db4b0" providerId="AD" clId="Web-{0B3DF2B8-8AFF-410A-96E1-E52D53AF69F1}" dt="2022-05-04T15:11:23.555" v="58" actId="1076"/>
      <pc:docMkLst>
        <pc:docMk/>
      </pc:docMkLst>
      <pc:sldChg chg="modSp">
        <pc:chgData name="Ana Isabel Silla Cortes" userId="S::asillaco@emeal.nttdata.com::b546b5c1-2aeb-468b-a361-4830835db4b0" providerId="AD" clId="Web-{0B3DF2B8-8AFF-410A-96E1-E52D53AF69F1}" dt="2022-05-04T15:11:23.555" v="58" actId="1076"/>
        <pc:sldMkLst>
          <pc:docMk/>
          <pc:sldMk cId="2002864901" sldId="2429"/>
        </pc:sldMkLst>
        <pc:spChg chg="mod">
          <ac:chgData name="Ana Isabel Silla Cortes" userId="S::asillaco@emeal.nttdata.com::b546b5c1-2aeb-468b-a361-4830835db4b0" providerId="AD" clId="Web-{0B3DF2B8-8AFF-410A-96E1-E52D53AF69F1}" dt="2022-05-04T15:11:23.555" v="58" actId="1076"/>
          <ac:spMkLst>
            <pc:docMk/>
            <pc:sldMk cId="2002864901" sldId="2429"/>
            <ac:spMk id="9" creationId="{B7389055-ED77-4CBB-25AC-763AF829A1DC}"/>
          </ac:spMkLst>
        </pc:spChg>
      </pc:sldChg>
    </pc:docChg>
  </pc:docChgLst>
  <pc:docChgLst>
    <pc:chgData name="Ana Isabel Silla Cortes" userId="S::asillaco@emeal.nttdata.com::b546b5c1-2aeb-468b-a361-4830835db4b0" providerId="AD" clId="Web-{AB7BA7A1-8E16-4697-974E-BDE52FCF54B7}"/>
    <pc:docChg chg="addSld delSld modSld modSection">
      <pc:chgData name="Ana Isabel Silla Cortes" userId="S::asillaco@emeal.nttdata.com::b546b5c1-2aeb-468b-a361-4830835db4b0" providerId="AD" clId="Web-{AB7BA7A1-8E16-4697-974E-BDE52FCF54B7}" dt="2022-04-29T13:22:18.423" v="137" actId="20577"/>
      <pc:docMkLst>
        <pc:docMk/>
      </pc:docMkLst>
      <pc:sldChg chg="modSp">
        <pc:chgData name="Ana Isabel Silla Cortes" userId="S::asillaco@emeal.nttdata.com::b546b5c1-2aeb-468b-a361-4830835db4b0" providerId="AD" clId="Web-{AB7BA7A1-8E16-4697-974E-BDE52FCF54B7}" dt="2022-04-29T13:18:56.934" v="93" actId="20577"/>
        <pc:sldMkLst>
          <pc:docMk/>
          <pc:sldMk cId="2392750449" sldId="2335"/>
        </pc:sldMkLst>
        <pc:spChg chg="mod">
          <ac:chgData name="Ana Isabel Silla Cortes" userId="S::asillaco@emeal.nttdata.com::b546b5c1-2aeb-468b-a361-4830835db4b0" providerId="AD" clId="Web-{AB7BA7A1-8E16-4697-974E-BDE52FCF54B7}" dt="2022-04-29T13:18:56.934" v="93" actId="20577"/>
          <ac:spMkLst>
            <pc:docMk/>
            <pc:sldMk cId="2392750449" sldId="2335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0:21.172" v="7" actId="20577"/>
        <pc:sldMkLst>
          <pc:docMk/>
          <pc:sldMk cId="981156525" sldId="2418"/>
        </pc:sldMkLst>
        <pc:spChg chg="mod">
          <ac:chgData name="Ana Isabel Silla Cortes" userId="S::asillaco@emeal.nttdata.com::b546b5c1-2aeb-468b-a361-4830835db4b0" providerId="AD" clId="Web-{AB7BA7A1-8E16-4697-974E-BDE52FCF54B7}" dt="2022-04-29T13:10:21.172" v="7" actId="20577"/>
          <ac:spMkLst>
            <pc:docMk/>
            <pc:sldMk cId="981156525" sldId="2418"/>
            <ac:spMk id="28" creationId="{DD453CE2-6FED-4720-8043-DBD1D2185AE1}"/>
          </ac:spMkLst>
        </pc:spChg>
      </pc:sldChg>
      <pc:sldChg chg="addSp delSp modSp">
        <pc:chgData name="Ana Isabel Silla Cortes" userId="S::asillaco@emeal.nttdata.com::b546b5c1-2aeb-468b-a361-4830835db4b0" providerId="AD" clId="Web-{AB7BA7A1-8E16-4697-974E-BDE52FCF54B7}" dt="2022-04-29T13:15:43.382" v="55" actId="14100"/>
        <pc:sldMkLst>
          <pc:docMk/>
          <pc:sldMk cId="2891543704" sldId="2422"/>
        </pc:sldMkLst>
        <pc:spChg chg="add mod">
          <ac:chgData name="Ana Isabel Silla Cortes" userId="S::asillaco@emeal.nttdata.com::b546b5c1-2aeb-468b-a361-4830835db4b0" providerId="AD" clId="Web-{AB7BA7A1-8E16-4697-974E-BDE52FCF54B7}" dt="2022-04-29T13:15:43.382" v="55" actId="14100"/>
          <ac:spMkLst>
            <pc:docMk/>
            <pc:sldMk cId="2891543704" sldId="2422"/>
            <ac:spMk id="6" creationId="{94552739-36A4-4602-281A-EEA7D9D1AF59}"/>
          </ac:spMkLst>
        </pc:spChg>
        <pc:spChg chg="mod">
          <ac:chgData name="Ana Isabel Silla Cortes" userId="S::asillaco@emeal.nttdata.com::b546b5c1-2aeb-468b-a361-4830835db4b0" providerId="AD" clId="Web-{AB7BA7A1-8E16-4697-974E-BDE52FCF54B7}" dt="2022-04-29T13:11:49.642" v="23" actId="20577"/>
          <ac:spMkLst>
            <pc:docMk/>
            <pc:sldMk cId="2891543704" sldId="2422"/>
            <ac:spMk id="28" creationId="{DD453CE2-6FED-4720-8043-DBD1D2185AE1}"/>
          </ac:spMkLst>
        </pc:spChg>
        <pc:picChg chg="del">
          <ac:chgData name="Ana Isabel Silla Cortes" userId="S::asillaco@emeal.nttdata.com::b546b5c1-2aeb-468b-a361-4830835db4b0" providerId="AD" clId="Web-{AB7BA7A1-8E16-4697-974E-BDE52FCF54B7}" dt="2022-04-29T13:11:29.767" v="14"/>
          <ac:picMkLst>
            <pc:docMk/>
            <pc:sldMk cId="2891543704" sldId="2422"/>
            <ac:picMk id="2" creationId="{00000000-0000-0000-0000-000000000000}"/>
          </ac:picMkLst>
        </pc:picChg>
        <pc:picChg chg="add mod">
          <ac:chgData name="Ana Isabel Silla Cortes" userId="S::asillaco@emeal.nttdata.com::b546b5c1-2aeb-468b-a361-4830835db4b0" providerId="AD" clId="Web-{AB7BA7A1-8E16-4697-974E-BDE52FCF54B7}" dt="2022-04-29T13:14:32.506" v="43" actId="14100"/>
          <ac:picMkLst>
            <pc:docMk/>
            <pc:sldMk cId="2891543704" sldId="2422"/>
            <ac:picMk id="4" creationId="{A4B9665B-2601-7882-77C6-DDE1803D59CF}"/>
          </ac:picMkLst>
        </pc:picChg>
      </pc:sldChg>
      <pc:sldChg chg="modSp">
        <pc:chgData name="Ana Isabel Silla Cortes" userId="S::asillaco@emeal.nttdata.com::b546b5c1-2aeb-468b-a361-4830835db4b0" providerId="AD" clId="Web-{AB7BA7A1-8E16-4697-974E-BDE52FCF54B7}" dt="2022-04-29T13:16:17.180" v="57" actId="20577"/>
        <pc:sldMkLst>
          <pc:docMk/>
          <pc:sldMk cId="1977536290" sldId="2423"/>
        </pc:sldMkLst>
        <pc:spChg chg="mod">
          <ac:chgData name="Ana Isabel Silla Cortes" userId="S::asillaco@emeal.nttdata.com::b546b5c1-2aeb-468b-a361-4830835db4b0" providerId="AD" clId="Web-{AB7BA7A1-8E16-4697-974E-BDE52FCF54B7}" dt="2022-04-29T13:16:17.180" v="57" actId="20577"/>
          <ac:spMkLst>
            <pc:docMk/>
            <pc:sldMk cId="1977536290" sldId="2423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1:07.376" v="12"/>
        <pc:sldMkLst>
          <pc:docMk/>
          <pc:sldMk cId="3290642412" sldId="2425"/>
        </pc:sldMkLst>
        <pc:spChg chg="mod">
          <ac:chgData name="Ana Isabel Silla Cortes" userId="S::asillaco@emeal.nttdata.com::b546b5c1-2aeb-468b-a361-4830835db4b0" providerId="AD" clId="Web-{AB7BA7A1-8E16-4697-974E-BDE52FCF54B7}" dt="2022-04-29T13:11:07.376" v="12"/>
          <ac:spMkLst>
            <pc:docMk/>
            <pc:sldMk cId="3290642412" sldId="2425"/>
            <ac:spMk id="2" creationId="{8CEBF40D-5339-40B5-5760-2FA978F45DB0}"/>
          </ac:spMkLst>
        </pc:spChg>
        <pc:spChg chg="mod">
          <ac:chgData name="Ana Isabel Silla Cortes" userId="S::asillaco@emeal.nttdata.com::b546b5c1-2aeb-468b-a361-4830835db4b0" providerId="AD" clId="Web-{AB7BA7A1-8E16-4697-974E-BDE52FCF54B7}" dt="2022-04-29T13:10:58.907" v="11"/>
          <ac:spMkLst>
            <pc:docMk/>
            <pc:sldMk cId="3290642412" sldId="2425"/>
            <ac:spMk id="14" creationId="{71B165B6-8798-541D-AA53-9B065ED23A0B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09:34.842" v="0" actId="20577"/>
        <pc:sldMkLst>
          <pc:docMk/>
          <pc:sldMk cId="2485783394" sldId="2430"/>
        </pc:sldMkLst>
        <pc:spChg chg="mod">
          <ac:chgData name="Ana Isabel Silla Cortes" userId="S::asillaco@emeal.nttdata.com::b546b5c1-2aeb-468b-a361-4830835db4b0" providerId="AD" clId="Web-{AB7BA7A1-8E16-4697-974E-BDE52FCF54B7}" dt="2022-04-29T13:09:34.842" v="0" actId="20577"/>
          <ac:spMkLst>
            <pc:docMk/>
            <pc:sldMk cId="2485783394" sldId="2430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9:14.950" v="105" actId="20577"/>
        <pc:sldMkLst>
          <pc:docMk/>
          <pc:sldMk cId="1737487934" sldId="2431"/>
        </pc:sldMkLst>
        <pc:spChg chg="mod">
          <ac:chgData name="Ana Isabel Silla Cortes" userId="S::asillaco@emeal.nttdata.com::b546b5c1-2aeb-468b-a361-4830835db4b0" providerId="AD" clId="Web-{AB7BA7A1-8E16-4697-974E-BDE52FCF54B7}" dt="2022-04-29T13:19:14.950" v="105" actId="20577"/>
          <ac:spMkLst>
            <pc:docMk/>
            <pc:sldMk cId="1737487934" sldId="2431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9:06.434" v="100" actId="20577"/>
        <pc:sldMkLst>
          <pc:docMk/>
          <pc:sldMk cId="768627014" sldId="2432"/>
        </pc:sldMkLst>
        <pc:spChg chg="mod">
          <ac:chgData name="Ana Isabel Silla Cortes" userId="S::asillaco@emeal.nttdata.com::b546b5c1-2aeb-468b-a361-4830835db4b0" providerId="AD" clId="Web-{AB7BA7A1-8E16-4697-974E-BDE52FCF54B7}" dt="2022-04-29T13:19:06.434" v="100" actId="20577"/>
          <ac:spMkLst>
            <pc:docMk/>
            <pc:sldMk cId="768627014" sldId="2432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9:20.856" v="110" actId="20577"/>
        <pc:sldMkLst>
          <pc:docMk/>
          <pc:sldMk cId="2958677732" sldId="2433"/>
        </pc:sldMkLst>
        <pc:spChg chg="mod">
          <ac:chgData name="Ana Isabel Silla Cortes" userId="S::asillaco@emeal.nttdata.com::b546b5c1-2aeb-468b-a361-4830835db4b0" providerId="AD" clId="Web-{AB7BA7A1-8E16-4697-974E-BDE52FCF54B7}" dt="2022-04-29T13:19:20.856" v="110" actId="20577"/>
          <ac:spMkLst>
            <pc:docMk/>
            <pc:sldMk cId="2958677732" sldId="2433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9:27.434" v="117" actId="20577"/>
        <pc:sldMkLst>
          <pc:docMk/>
          <pc:sldMk cId="3347855164" sldId="2434"/>
        </pc:sldMkLst>
        <pc:spChg chg="mod">
          <ac:chgData name="Ana Isabel Silla Cortes" userId="S::asillaco@emeal.nttdata.com::b546b5c1-2aeb-468b-a361-4830835db4b0" providerId="AD" clId="Web-{AB7BA7A1-8E16-4697-974E-BDE52FCF54B7}" dt="2022-04-29T13:19:27.434" v="117" actId="20577"/>
          <ac:spMkLst>
            <pc:docMk/>
            <pc:sldMk cId="3347855164" sldId="2434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9:35.575" v="123" actId="20577"/>
        <pc:sldMkLst>
          <pc:docMk/>
          <pc:sldMk cId="1632767328" sldId="2435"/>
        </pc:sldMkLst>
        <pc:spChg chg="mod">
          <ac:chgData name="Ana Isabel Silla Cortes" userId="S::asillaco@emeal.nttdata.com::b546b5c1-2aeb-468b-a361-4830835db4b0" providerId="AD" clId="Web-{AB7BA7A1-8E16-4697-974E-BDE52FCF54B7}" dt="2022-04-29T13:19:35.575" v="123" actId="20577"/>
          <ac:spMkLst>
            <pc:docMk/>
            <pc:sldMk cId="1632767328" sldId="2435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7:07.947" v="61" actId="20577"/>
        <pc:sldMkLst>
          <pc:docMk/>
          <pc:sldMk cId="3916546720" sldId="2442"/>
        </pc:sldMkLst>
        <pc:spChg chg="mod">
          <ac:chgData name="Ana Isabel Silla Cortes" userId="S::asillaco@emeal.nttdata.com::b546b5c1-2aeb-468b-a361-4830835db4b0" providerId="AD" clId="Web-{AB7BA7A1-8E16-4697-974E-BDE52FCF54B7}" dt="2022-04-29T13:17:07.947" v="61" actId="20577"/>
          <ac:spMkLst>
            <pc:docMk/>
            <pc:sldMk cId="3916546720" sldId="2442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22:07.719" v="132" actId="20577"/>
        <pc:sldMkLst>
          <pc:docMk/>
          <pc:sldMk cId="3296295457" sldId="2449"/>
        </pc:sldMkLst>
        <pc:spChg chg="mod">
          <ac:chgData name="Ana Isabel Silla Cortes" userId="S::asillaco@emeal.nttdata.com::b546b5c1-2aeb-468b-a361-4830835db4b0" providerId="AD" clId="Web-{AB7BA7A1-8E16-4697-974E-BDE52FCF54B7}" dt="2022-04-29T13:22:07.719" v="132" actId="20577"/>
          <ac:spMkLst>
            <pc:docMk/>
            <pc:sldMk cId="3296295457" sldId="2449"/>
            <ac:spMk id="22" creationId="{6EA10ED2-50E3-40EA-8CC2-55F5E96A71E8}"/>
          </ac:spMkLst>
        </pc:spChg>
        <pc:spChg chg="mod">
          <ac:chgData name="Ana Isabel Silla Cortes" userId="S::asillaco@emeal.nttdata.com::b546b5c1-2aeb-468b-a361-4830835db4b0" providerId="AD" clId="Web-{AB7BA7A1-8E16-4697-974E-BDE52FCF54B7}" dt="2022-04-29T13:18:10.604" v="78" actId="20577"/>
          <ac:spMkLst>
            <pc:docMk/>
            <pc:sldMk cId="3296295457" sldId="2449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22:14.110" v="134" actId="20577"/>
        <pc:sldMkLst>
          <pc:docMk/>
          <pc:sldMk cId="1680424220" sldId="2450"/>
        </pc:sldMkLst>
        <pc:spChg chg="mod">
          <ac:chgData name="Ana Isabel Silla Cortes" userId="S::asillaco@emeal.nttdata.com::b546b5c1-2aeb-468b-a361-4830835db4b0" providerId="AD" clId="Web-{AB7BA7A1-8E16-4697-974E-BDE52FCF54B7}" dt="2022-04-29T13:22:14.110" v="134" actId="20577"/>
          <ac:spMkLst>
            <pc:docMk/>
            <pc:sldMk cId="1680424220" sldId="2450"/>
            <ac:spMk id="22" creationId="{6EA10ED2-50E3-40EA-8CC2-55F5E96A71E8}"/>
          </ac:spMkLst>
        </pc:spChg>
        <pc:spChg chg="mod">
          <ac:chgData name="Ana Isabel Silla Cortes" userId="S::asillaco@emeal.nttdata.com::b546b5c1-2aeb-468b-a361-4830835db4b0" providerId="AD" clId="Web-{AB7BA7A1-8E16-4697-974E-BDE52FCF54B7}" dt="2022-04-29T13:18:17.042" v="83" actId="20577"/>
          <ac:spMkLst>
            <pc:docMk/>
            <pc:sldMk cId="1680424220" sldId="2450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22:18.423" v="137" actId="20577"/>
        <pc:sldMkLst>
          <pc:docMk/>
          <pc:sldMk cId="3678979713" sldId="2451"/>
        </pc:sldMkLst>
        <pc:spChg chg="mod">
          <ac:chgData name="Ana Isabel Silla Cortes" userId="S::asillaco@emeal.nttdata.com::b546b5c1-2aeb-468b-a361-4830835db4b0" providerId="AD" clId="Web-{AB7BA7A1-8E16-4697-974E-BDE52FCF54B7}" dt="2022-04-29T13:22:18.423" v="137" actId="20577"/>
          <ac:spMkLst>
            <pc:docMk/>
            <pc:sldMk cId="3678979713" sldId="2451"/>
            <ac:spMk id="22" creationId="{6EA10ED2-50E3-40EA-8CC2-55F5E96A71E8}"/>
          </ac:spMkLst>
        </pc:spChg>
        <pc:spChg chg="mod">
          <ac:chgData name="Ana Isabel Silla Cortes" userId="S::asillaco@emeal.nttdata.com::b546b5c1-2aeb-468b-a361-4830835db4b0" providerId="AD" clId="Web-{AB7BA7A1-8E16-4697-974E-BDE52FCF54B7}" dt="2022-04-29T13:18:24.589" v="87" actId="20577"/>
          <ac:spMkLst>
            <pc:docMk/>
            <pc:sldMk cId="3678979713" sldId="2451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8:05.417" v="75" actId="20577"/>
        <pc:sldMkLst>
          <pc:docMk/>
          <pc:sldMk cId="3330879086" sldId="2452"/>
        </pc:sldMkLst>
        <pc:spChg chg="mod">
          <ac:chgData name="Ana Isabel Silla Cortes" userId="S::asillaco@emeal.nttdata.com::b546b5c1-2aeb-468b-a361-4830835db4b0" providerId="AD" clId="Web-{AB7BA7A1-8E16-4697-974E-BDE52FCF54B7}" dt="2022-04-29T13:18:05.417" v="75" actId="20577"/>
          <ac:spMkLst>
            <pc:docMk/>
            <pc:sldMk cId="3330879086" sldId="2452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9:41.763" v="128" actId="20577"/>
        <pc:sldMkLst>
          <pc:docMk/>
          <pc:sldMk cId="163228844" sldId="2453"/>
        </pc:sldMkLst>
        <pc:spChg chg="mod">
          <ac:chgData name="Ana Isabel Silla Cortes" userId="S::asillaco@emeal.nttdata.com::b546b5c1-2aeb-468b-a361-4830835db4b0" providerId="AD" clId="Web-{AB7BA7A1-8E16-4697-974E-BDE52FCF54B7}" dt="2022-04-29T13:19:41.763" v="128" actId="20577"/>
          <ac:spMkLst>
            <pc:docMk/>
            <pc:sldMk cId="163228844" sldId="2453"/>
            <ac:spMk id="20" creationId="{EE2EB87E-F264-4765-9C66-FE84E21A3B66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21:55.125" v="129" actId="20577"/>
        <pc:sldMkLst>
          <pc:docMk/>
          <pc:sldMk cId="1509237927" sldId="2454"/>
        </pc:sldMkLst>
        <pc:spChg chg="mod">
          <ac:chgData name="Ana Isabel Silla Cortes" userId="S::asillaco@emeal.nttdata.com::b546b5c1-2aeb-468b-a361-4830835db4b0" providerId="AD" clId="Web-{AB7BA7A1-8E16-4697-974E-BDE52FCF54B7}" dt="2022-04-29T13:21:55.125" v="129" actId="20577"/>
          <ac:spMkLst>
            <pc:docMk/>
            <pc:sldMk cId="1509237927" sldId="2454"/>
            <ac:spMk id="22" creationId="{6EA10ED2-50E3-40EA-8CC2-55F5E96A71E8}"/>
          </ac:spMkLst>
        </pc:spChg>
        <pc:spChg chg="mod">
          <ac:chgData name="Ana Isabel Silla Cortes" userId="S::asillaco@emeal.nttdata.com::b546b5c1-2aeb-468b-a361-4830835db4b0" providerId="AD" clId="Web-{AB7BA7A1-8E16-4697-974E-BDE52FCF54B7}" dt="2022-04-29T13:17:20.134" v="62" actId="20577"/>
          <ac:spMkLst>
            <pc:docMk/>
            <pc:sldMk cId="1509237927" sldId="2454"/>
            <ac:spMk id="28" creationId="{DD453CE2-6FED-4720-8043-DBD1D2185AE1}"/>
          </ac:spMkLst>
        </pc:spChg>
      </pc:sldChg>
      <pc:sldChg chg="modSp">
        <pc:chgData name="Ana Isabel Silla Cortes" userId="S::asillaco@emeal.nttdata.com::b546b5c1-2aeb-468b-a361-4830835db4b0" providerId="AD" clId="Web-{AB7BA7A1-8E16-4697-974E-BDE52FCF54B7}" dt="2022-04-29T13:16:50.165" v="58" actId="20577"/>
        <pc:sldMkLst>
          <pc:docMk/>
          <pc:sldMk cId="808673692" sldId="2455"/>
        </pc:sldMkLst>
        <pc:spChg chg="mod">
          <ac:chgData name="Ana Isabel Silla Cortes" userId="S::asillaco@emeal.nttdata.com::b546b5c1-2aeb-468b-a361-4830835db4b0" providerId="AD" clId="Web-{AB7BA7A1-8E16-4697-974E-BDE52FCF54B7}" dt="2022-04-29T13:16:50.165" v="58" actId="20577"/>
          <ac:spMkLst>
            <pc:docMk/>
            <pc:sldMk cId="808673692" sldId="2455"/>
            <ac:spMk id="28" creationId="{DD453CE2-6FED-4720-8043-DBD1D2185AE1}"/>
          </ac:spMkLst>
        </pc:spChg>
      </pc:sldChg>
      <pc:sldChg chg="modSp add replId">
        <pc:chgData name="Ana Isabel Silla Cortes" userId="S::asillaco@emeal.nttdata.com::b546b5c1-2aeb-468b-a361-4830835db4b0" providerId="AD" clId="Web-{AB7BA7A1-8E16-4697-974E-BDE52FCF54B7}" dt="2022-04-29T13:11:37.392" v="16" actId="20577"/>
        <pc:sldMkLst>
          <pc:docMk/>
          <pc:sldMk cId="497990647" sldId="2456"/>
        </pc:sldMkLst>
        <pc:spChg chg="mod">
          <ac:chgData name="Ana Isabel Silla Cortes" userId="S::asillaco@emeal.nttdata.com::b546b5c1-2aeb-468b-a361-4830835db4b0" providerId="AD" clId="Web-{AB7BA7A1-8E16-4697-974E-BDE52FCF54B7}" dt="2022-04-29T13:11:37.392" v="16" actId="20577"/>
          <ac:spMkLst>
            <pc:docMk/>
            <pc:sldMk cId="497990647" sldId="2456"/>
            <ac:spMk id="28" creationId="{DD453CE2-6FED-4720-8043-DBD1D2185AE1}"/>
          </ac:spMkLst>
        </pc:spChg>
      </pc:sldChg>
      <pc:sldChg chg="addSp delSp modSp new del">
        <pc:chgData name="Ana Isabel Silla Cortes" userId="S::asillaco@emeal.nttdata.com::b546b5c1-2aeb-468b-a361-4830835db4b0" providerId="AD" clId="Web-{AB7BA7A1-8E16-4697-974E-BDE52FCF54B7}" dt="2022-04-29T13:13:30.004" v="29"/>
        <pc:sldMkLst>
          <pc:docMk/>
          <pc:sldMk cId="4145677874" sldId="2457"/>
        </pc:sldMkLst>
        <pc:spChg chg="del">
          <ac:chgData name="Ana Isabel Silla Cortes" userId="S::asillaco@emeal.nttdata.com::b546b5c1-2aeb-468b-a361-4830835db4b0" providerId="AD" clId="Web-{AB7BA7A1-8E16-4697-974E-BDE52FCF54B7}" dt="2022-04-29T13:13:06.957" v="25"/>
          <ac:spMkLst>
            <pc:docMk/>
            <pc:sldMk cId="4145677874" sldId="2457"/>
            <ac:spMk id="3" creationId="{DA484B97-CC69-7ED2-AF26-1DEDBDF8E4A7}"/>
          </ac:spMkLst>
        </pc:spChg>
        <pc:picChg chg="add mod ord">
          <ac:chgData name="Ana Isabel Silla Cortes" userId="S::asillaco@emeal.nttdata.com::b546b5c1-2aeb-468b-a361-4830835db4b0" providerId="AD" clId="Web-{AB7BA7A1-8E16-4697-974E-BDE52FCF54B7}" dt="2022-04-29T13:13:06.957" v="25"/>
          <ac:picMkLst>
            <pc:docMk/>
            <pc:sldMk cId="4145677874" sldId="2457"/>
            <ac:picMk id="5" creationId="{220E73DF-4A14-0921-9647-359CBBE309C0}"/>
          </ac:picMkLst>
        </pc:picChg>
      </pc:sldChg>
      <pc:sldChg chg="add del replId">
        <pc:chgData name="Ana Isabel Silla Cortes" userId="S::asillaco@emeal.nttdata.com::b546b5c1-2aeb-468b-a361-4830835db4b0" providerId="AD" clId="Web-{AB7BA7A1-8E16-4697-974E-BDE52FCF54B7}" dt="2022-04-29T13:13:32.676" v="30"/>
        <pc:sldMkLst>
          <pc:docMk/>
          <pc:sldMk cId="4241269581" sldId="2458"/>
        </pc:sldMkLst>
      </pc:sldChg>
      <pc:sldChg chg="add del replId">
        <pc:chgData name="Ana Isabel Silla Cortes" userId="S::asillaco@emeal.nttdata.com::b546b5c1-2aeb-468b-a361-4830835db4b0" providerId="AD" clId="Web-{AB7BA7A1-8E16-4697-974E-BDE52FCF54B7}" dt="2022-04-29T13:13:32.879" v="31"/>
        <pc:sldMkLst>
          <pc:docMk/>
          <pc:sldMk cId="2637573041" sldId="2459"/>
        </pc:sldMkLst>
      </pc:sldChg>
      <pc:sldChg chg="add del replId">
        <pc:chgData name="Ana Isabel Silla Cortes" userId="S::asillaco@emeal.nttdata.com::b546b5c1-2aeb-468b-a361-4830835db4b0" providerId="AD" clId="Web-{AB7BA7A1-8E16-4697-974E-BDE52FCF54B7}" dt="2022-04-29T13:13:48.364" v="33"/>
        <pc:sldMkLst>
          <pc:docMk/>
          <pc:sldMk cId="4225343731" sldId="2460"/>
        </pc:sldMkLst>
      </pc:sldChg>
    </pc:docChg>
  </pc:docChgLst>
  <pc:docChgLst>
    <pc:chgData name="David Pastor Puyuelo" userId="S::dpastopu@emeal.nttdata.com::4ba541ea-9651-41d4-862c-06544bb5ec7b" providerId="AD" clId="Web-{629B66B5-9CD8-F7F3-F602-817F4648E7A1}"/>
    <pc:docChg chg="addSld modSld modSection">
      <pc:chgData name="David Pastor Puyuelo" userId="S::dpastopu@emeal.nttdata.com::4ba541ea-9651-41d4-862c-06544bb5ec7b" providerId="AD" clId="Web-{629B66B5-9CD8-F7F3-F602-817F4648E7A1}" dt="2022-05-03T07:06:09.674" v="223" actId="20577"/>
      <pc:docMkLst>
        <pc:docMk/>
      </pc:docMkLst>
      <pc:sldChg chg="modSp">
        <pc:chgData name="David Pastor Puyuelo" userId="S::dpastopu@emeal.nttdata.com::4ba541ea-9651-41d4-862c-06544bb5ec7b" providerId="AD" clId="Web-{629B66B5-9CD8-F7F3-F602-817F4648E7A1}" dt="2022-05-03T06:56:03.815" v="3"/>
        <pc:sldMkLst>
          <pc:docMk/>
          <pc:sldMk cId="560978902" sldId="2460"/>
        </pc:sldMkLst>
        <pc:spChg chg="mod">
          <ac:chgData name="David Pastor Puyuelo" userId="S::dpastopu@emeal.nttdata.com::4ba541ea-9651-41d4-862c-06544bb5ec7b" providerId="AD" clId="Web-{629B66B5-9CD8-F7F3-F602-817F4648E7A1}" dt="2022-05-03T06:56:03.815" v="3"/>
          <ac:spMkLst>
            <pc:docMk/>
            <pc:sldMk cId="560978902" sldId="2460"/>
            <ac:spMk id="20" creationId="{EE2EB87E-F264-4765-9C66-FE84E21A3B66}"/>
          </ac:spMkLst>
        </pc:spChg>
      </pc:sldChg>
      <pc:sldChg chg="add replId">
        <pc:chgData name="David Pastor Puyuelo" userId="S::dpastopu@emeal.nttdata.com::4ba541ea-9651-41d4-862c-06544bb5ec7b" providerId="AD" clId="Web-{629B66B5-9CD8-F7F3-F602-817F4648E7A1}" dt="2022-05-03T06:55:40.642" v="0"/>
        <pc:sldMkLst>
          <pc:docMk/>
          <pc:sldMk cId="854392975" sldId="2471"/>
        </pc:sldMkLst>
      </pc:sldChg>
      <pc:sldChg chg="addSp delSp modSp add replId">
        <pc:chgData name="David Pastor Puyuelo" userId="S::dpastopu@emeal.nttdata.com::4ba541ea-9651-41d4-862c-06544bb5ec7b" providerId="AD" clId="Web-{629B66B5-9CD8-F7F3-F602-817F4648E7A1}" dt="2022-05-03T07:05:58.501" v="216" actId="20577"/>
        <pc:sldMkLst>
          <pc:docMk/>
          <pc:sldMk cId="2448940607" sldId="2472"/>
        </pc:sldMkLst>
        <pc:spChg chg="add mod">
          <ac:chgData name="David Pastor Puyuelo" userId="S::dpastopu@emeal.nttdata.com::4ba541ea-9651-41d4-862c-06544bb5ec7b" providerId="AD" clId="Web-{629B66B5-9CD8-F7F3-F602-817F4648E7A1}" dt="2022-05-03T07:02:30.612" v="77" actId="20577"/>
          <ac:spMkLst>
            <pc:docMk/>
            <pc:sldMk cId="2448940607" sldId="2472"/>
            <ac:spMk id="4" creationId="{CB7081DE-6251-4544-A2ED-A2D04B1F1815}"/>
          </ac:spMkLst>
        </pc:spChg>
        <pc:spChg chg="add del">
          <ac:chgData name="David Pastor Puyuelo" userId="S::dpastopu@emeal.nttdata.com::4ba541ea-9651-41d4-862c-06544bb5ec7b" providerId="AD" clId="Web-{629B66B5-9CD8-F7F3-F602-817F4648E7A1}" dt="2022-05-03T07:04:39.996" v="177"/>
          <ac:spMkLst>
            <pc:docMk/>
            <pc:sldMk cId="2448940607" sldId="2472"/>
            <ac:spMk id="7" creationId="{56FB36FB-2A38-4C56-3393-0CE9239974CB}"/>
          </ac:spMkLst>
        </pc:spChg>
        <pc:spChg chg="add mod">
          <ac:chgData name="David Pastor Puyuelo" userId="S::dpastopu@emeal.nttdata.com::4ba541ea-9651-41d4-862c-06544bb5ec7b" providerId="AD" clId="Web-{629B66B5-9CD8-F7F3-F602-817F4648E7A1}" dt="2022-05-03T07:03:26.381" v="128" actId="20577"/>
          <ac:spMkLst>
            <pc:docMk/>
            <pc:sldMk cId="2448940607" sldId="2472"/>
            <ac:spMk id="11" creationId="{312B727F-8E65-FF5F-2B91-0E1DDC54D6F3}"/>
          </ac:spMkLst>
        </pc:spChg>
        <pc:spChg chg="mod">
          <ac:chgData name="David Pastor Puyuelo" userId="S::dpastopu@emeal.nttdata.com::4ba541ea-9651-41d4-862c-06544bb5ec7b" providerId="AD" clId="Web-{629B66B5-9CD8-F7F3-F602-817F4648E7A1}" dt="2022-05-03T07:05:58.501" v="216" actId="20577"/>
          <ac:spMkLst>
            <pc:docMk/>
            <pc:sldMk cId="2448940607" sldId="2472"/>
            <ac:spMk id="22" creationId="{6EA10ED2-50E3-40EA-8CC2-55F5E96A71E8}"/>
          </ac:spMkLst>
        </pc:spChg>
        <pc:spChg chg="mod">
          <ac:chgData name="David Pastor Puyuelo" userId="S::dpastopu@emeal.nttdata.com::4ba541ea-9651-41d4-862c-06544bb5ec7b" providerId="AD" clId="Web-{629B66B5-9CD8-F7F3-F602-817F4648E7A1}" dt="2022-05-03T07:03:48.570" v="135" actId="20577"/>
          <ac:spMkLst>
            <pc:docMk/>
            <pc:sldMk cId="2448940607" sldId="2472"/>
            <ac:spMk id="28" creationId="{DD453CE2-6FED-4720-8043-DBD1D2185AE1}"/>
          </ac:spMkLst>
        </pc:spChg>
        <pc:picChg chg="mod">
          <ac:chgData name="David Pastor Puyuelo" userId="S::dpastopu@emeal.nttdata.com::4ba541ea-9651-41d4-862c-06544bb5ec7b" providerId="AD" clId="Web-{629B66B5-9CD8-F7F3-F602-817F4648E7A1}" dt="2022-05-03T07:00:07.384" v="26" actId="1076"/>
          <ac:picMkLst>
            <pc:docMk/>
            <pc:sldMk cId="2448940607" sldId="2472"/>
            <ac:picMk id="2" creationId="{86A14205-548D-DB29-2510-2592C30864AB}"/>
          </ac:picMkLst>
        </pc:picChg>
        <pc:picChg chg="del">
          <ac:chgData name="David Pastor Puyuelo" userId="S::dpastopu@emeal.nttdata.com::4ba541ea-9651-41d4-862c-06544bb5ec7b" providerId="AD" clId="Web-{629B66B5-9CD8-F7F3-F602-817F4648E7A1}" dt="2022-05-03T06:59:16.583" v="21"/>
          <ac:picMkLst>
            <pc:docMk/>
            <pc:sldMk cId="2448940607" sldId="2472"/>
            <ac:picMk id="6" creationId="{F0743334-4DD0-B4A8-CC16-ADB839E236C5}"/>
          </ac:picMkLst>
        </pc:picChg>
      </pc:sldChg>
      <pc:sldChg chg="modSp add replId">
        <pc:chgData name="David Pastor Puyuelo" userId="S::dpastopu@emeal.nttdata.com::4ba541ea-9651-41d4-862c-06544bb5ec7b" providerId="AD" clId="Web-{629B66B5-9CD8-F7F3-F602-817F4648E7A1}" dt="2022-05-03T07:06:09.674" v="223" actId="20577"/>
        <pc:sldMkLst>
          <pc:docMk/>
          <pc:sldMk cId="1460187444" sldId="2473"/>
        </pc:sldMkLst>
        <pc:spChg chg="mod">
          <ac:chgData name="David Pastor Puyuelo" userId="S::dpastopu@emeal.nttdata.com::4ba541ea-9651-41d4-862c-06544bb5ec7b" providerId="AD" clId="Web-{629B66B5-9CD8-F7F3-F602-817F4648E7A1}" dt="2022-05-03T07:05:41.109" v="214" actId="20577"/>
          <ac:spMkLst>
            <pc:docMk/>
            <pc:sldMk cId="1460187444" sldId="2473"/>
            <ac:spMk id="2" creationId="{4BBBE611-8AAB-382C-0782-56AB5D6BBDFA}"/>
          </ac:spMkLst>
        </pc:spChg>
        <pc:spChg chg="mod">
          <ac:chgData name="David Pastor Puyuelo" userId="S::dpastopu@emeal.nttdata.com::4ba541ea-9651-41d4-862c-06544bb5ec7b" providerId="AD" clId="Web-{629B66B5-9CD8-F7F3-F602-817F4648E7A1}" dt="2022-05-03T07:06:09.674" v="223" actId="20577"/>
          <ac:spMkLst>
            <pc:docMk/>
            <pc:sldMk cId="1460187444" sldId="2473"/>
            <ac:spMk id="22" creationId="{6EA10ED2-50E3-40EA-8CC2-55F5E96A71E8}"/>
          </ac:spMkLst>
        </pc:spChg>
        <pc:spChg chg="mod">
          <ac:chgData name="David Pastor Puyuelo" userId="S::dpastopu@emeal.nttdata.com::4ba541ea-9651-41d4-862c-06544bb5ec7b" providerId="AD" clId="Web-{629B66B5-9CD8-F7F3-F602-817F4648E7A1}" dt="2022-05-03T07:05:47.250" v="215" actId="20577"/>
          <ac:spMkLst>
            <pc:docMk/>
            <pc:sldMk cId="1460187444" sldId="2473"/>
            <ac:spMk id="28" creationId="{DD453CE2-6FED-4720-8043-DBD1D2185AE1}"/>
          </ac:spMkLst>
        </pc:spChg>
      </pc:sldChg>
    </pc:docChg>
  </pc:docChgLst>
  <pc:docChgLst>
    <pc:chgData name="Ana Isabel Silla Cortes" userId="S::asillaco@emeal.nttdata.com::b546b5c1-2aeb-468b-a361-4830835db4b0" providerId="AD" clId="Web-{7B53F17C-B963-4667-A9B0-0DD550B80357}"/>
    <pc:docChg chg="addSld delSld modSld modSection">
      <pc:chgData name="Ana Isabel Silla Cortes" userId="S::asillaco@emeal.nttdata.com::b546b5c1-2aeb-468b-a361-4830835db4b0" providerId="AD" clId="Web-{7B53F17C-B963-4667-A9B0-0DD550B80357}" dt="2022-04-29T09:50:13.619" v="563" actId="1076"/>
      <pc:docMkLst>
        <pc:docMk/>
      </pc:docMkLst>
      <pc:sldChg chg="delSp modSp">
        <pc:chgData name="Ana Isabel Silla Cortes" userId="S::asillaco@emeal.nttdata.com::b546b5c1-2aeb-468b-a361-4830835db4b0" providerId="AD" clId="Web-{7B53F17C-B963-4667-A9B0-0DD550B80357}" dt="2022-04-29T09:30:34.873" v="7" actId="20577"/>
        <pc:sldMkLst>
          <pc:docMk/>
          <pc:sldMk cId="1592699464" sldId="1483"/>
        </pc:sldMkLst>
        <pc:spChg chg="mod">
          <ac:chgData name="Ana Isabel Silla Cortes" userId="S::asillaco@emeal.nttdata.com::b546b5c1-2aeb-468b-a361-4830835db4b0" providerId="AD" clId="Web-{7B53F17C-B963-4667-A9B0-0DD550B80357}" dt="2022-04-29T09:30:34.873" v="7" actId="20577"/>
          <ac:spMkLst>
            <pc:docMk/>
            <pc:sldMk cId="1592699464" sldId="1483"/>
            <ac:spMk id="67" creationId="{F77401DE-B532-9E4B-8E43-9E44546E7A61}"/>
          </ac:spMkLst>
        </pc:spChg>
        <pc:spChg chg="mod">
          <ac:chgData name="Ana Isabel Silla Cortes" userId="S::asillaco@emeal.nttdata.com::b546b5c1-2aeb-468b-a361-4830835db4b0" providerId="AD" clId="Web-{7B53F17C-B963-4667-A9B0-0DD550B80357}" dt="2022-04-29T09:30:24.450" v="5" actId="20577"/>
          <ac:spMkLst>
            <pc:docMk/>
            <pc:sldMk cId="1592699464" sldId="1483"/>
            <ac:spMk id="68" creationId="{B1D65679-B791-3D48-8B47-62CECF7CB297}"/>
          </ac:spMkLst>
        </pc:spChg>
        <pc:spChg chg="del">
          <ac:chgData name="Ana Isabel Silla Cortes" userId="S::asillaco@emeal.nttdata.com::b546b5c1-2aeb-468b-a361-4830835db4b0" providerId="AD" clId="Web-{7B53F17C-B963-4667-A9B0-0DD550B80357}" dt="2022-04-29T09:30:17.060" v="3"/>
          <ac:spMkLst>
            <pc:docMk/>
            <pc:sldMk cId="1592699464" sldId="1483"/>
            <ac:spMk id="742" creationId="{9F99EB93-7828-974A-99B9-AD2DB6B52388}"/>
          </ac:spMkLst>
        </pc:spChg>
      </pc:sldChg>
      <pc:sldChg chg="addSp delSp modSp">
        <pc:chgData name="Ana Isabel Silla Cortes" userId="S::asillaco@emeal.nttdata.com::b546b5c1-2aeb-468b-a361-4830835db4b0" providerId="AD" clId="Web-{7B53F17C-B963-4667-A9B0-0DD550B80357}" dt="2022-04-29T09:44:07.954" v="432" actId="14100"/>
        <pc:sldMkLst>
          <pc:docMk/>
          <pc:sldMk cId="2392750449" sldId="2335"/>
        </pc:sldMkLst>
        <pc:spChg chg="add del">
          <ac:chgData name="Ana Isabel Silla Cortes" userId="S::asillaco@emeal.nttdata.com::b546b5c1-2aeb-468b-a361-4830835db4b0" providerId="AD" clId="Web-{7B53F17C-B963-4667-A9B0-0DD550B80357}" dt="2022-04-29T09:39:15.744" v="238"/>
          <ac:spMkLst>
            <pc:docMk/>
            <pc:sldMk cId="2392750449" sldId="2335"/>
            <ac:spMk id="2" creationId="{40599378-8E75-DD2A-BC03-4FD9BE2C2F30}"/>
          </ac:spMkLst>
        </pc:spChg>
        <pc:spChg chg="add del mod">
          <ac:chgData name="Ana Isabel Silla Cortes" userId="S::asillaco@emeal.nttdata.com::b546b5c1-2aeb-468b-a361-4830835db4b0" providerId="AD" clId="Web-{7B53F17C-B963-4667-A9B0-0DD550B80357}" dt="2022-04-29T09:39:13.947" v="237"/>
          <ac:spMkLst>
            <pc:docMk/>
            <pc:sldMk cId="2392750449" sldId="2335"/>
            <ac:spMk id="13" creationId="{0B007E4F-C395-34EA-4B0A-8F7F50B6A600}"/>
          </ac:spMkLst>
        </pc:spChg>
        <pc:spChg chg="add del mod">
          <ac:chgData name="Ana Isabel Silla Cortes" userId="S::asillaco@emeal.nttdata.com::b546b5c1-2aeb-468b-a361-4830835db4b0" providerId="AD" clId="Web-{7B53F17C-B963-4667-A9B0-0DD550B80357}" dt="2022-04-29T09:39:04.213" v="232"/>
          <ac:spMkLst>
            <pc:docMk/>
            <pc:sldMk cId="2392750449" sldId="2335"/>
            <ac:spMk id="14" creationId="{7BCF40B9-6B19-FF54-BE4A-30A803EEF1C0}"/>
          </ac:spMkLst>
        </pc:spChg>
        <pc:spChg chg="add del mod">
          <ac:chgData name="Ana Isabel Silla Cortes" userId="S::asillaco@emeal.nttdata.com::b546b5c1-2aeb-468b-a361-4830835db4b0" providerId="AD" clId="Web-{7B53F17C-B963-4667-A9B0-0DD550B80357}" dt="2022-04-29T09:39:02.291" v="231"/>
          <ac:spMkLst>
            <pc:docMk/>
            <pc:sldMk cId="2392750449" sldId="2335"/>
            <ac:spMk id="16" creationId="{2D86F29C-748C-EA84-8A7D-F41F19050F4D}"/>
          </ac:spMkLst>
        </pc:spChg>
        <pc:spChg chg="add del mod">
          <ac:chgData name="Ana Isabel Silla Cortes" userId="S::asillaco@emeal.nttdata.com::b546b5c1-2aeb-468b-a361-4830835db4b0" providerId="AD" clId="Web-{7B53F17C-B963-4667-A9B0-0DD550B80357}" dt="2022-04-29T09:39:12.088" v="236"/>
          <ac:spMkLst>
            <pc:docMk/>
            <pc:sldMk cId="2392750449" sldId="2335"/>
            <ac:spMk id="17" creationId="{46C1774C-DE1F-376C-BE96-3717E4EB7500}"/>
          </ac:spMkLst>
        </pc:spChg>
        <pc:spChg chg="add del mod">
          <ac:chgData name="Ana Isabel Silla Cortes" userId="S::asillaco@emeal.nttdata.com::b546b5c1-2aeb-468b-a361-4830835db4b0" providerId="AD" clId="Web-{7B53F17C-B963-4667-A9B0-0DD550B80357}" dt="2022-04-29T09:39:10.228" v="235"/>
          <ac:spMkLst>
            <pc:docMk/>
            <pc:sldMk cId="2392750449" sldId="2335"/>
            <ac:spMk id="18" creationId="{9982EAC8-47FF-786F-B823-01EDDBBCD735}"/>
          </ac:spMkLst>
        </pc:spChg>
        <pc:spChg chg="del">
          <ac:chgData name="Ana Isabel Silla Cortes" userId="S::asillaco@emeal.nttdata.com::b546b5c1-2aeb-468b-a361-4830835db4b0" providerId="AD" clId="Web-{7B53F17C-B963-4667-A9B0-0DD550B80357}" dt="2022-04-29T09:39:40.635" v="247"/>
          <ac:spMkLst>
            <pc:docMk/>
            <pc:sldMk cId="2392750449" sldId="2335"/>
            <ac:spMk id="19" creationId="{A6D12714-3651-4217-A78A-9E298BCF5D53}"/>
          </ac:spMkLst>
        </pc:spChg>
        <pc:spChg chg="mod">
          <ac:chgData name="Ana Isabel Silla Cortes" userId="S::asillaco@emeal.nttdata.com::b546b5c1-2aeb-468b-a361-4830835db4b0" providerId="AD" clId="Web-{7B53F17C-B963-4667-A9B0-0DD550B80357}" dt="2022-04-29T09:44:07.954" v="432" actId="14100"/>
          <ac:spMkLst>
            <pc:docMk/>
            <pc:sldMk cId="2392750449" sldId="2335"/>
            <ac:spMk id="20" creationId="{EE2EB87E-F264-4765-9C66-FE84E21A3B66}"/>
          </ac:spMkLst>
        </pc:spChg>
        <pc:spChg chg="add del mod">
          <ac:chgData name="Ana Isabel Silla Cortes" userId="S::asillaco@emeal.nttdata.com::b546b5c1-2aeb-468b-a361-4830835db4b0" providerId="AD" clId="Web-{7B53F17C-B963-4667-A9B0-0DD550B80357}" dt="2022-04-29T09:39:00.384" v="230"/>
          <ac:spMkLst>
            <pc:docMk/>
            <pc:sldMk cId="2392750449" sldId="2335"/>
            <ac:spMk id="21" creationId="{A82C7CA5-7BE2-B04A-A3CF-C1DEF80D0EA8}"/>
          </ac:spMkLst>
        </pc:spChg>
        <pc:spChg chg="del mod">
          <ac:chgData name="Ana Isabel Silla Cortes" userId="S::asillaco@emeal.nttdata.com::b546b5c1-2aeb-468b-a361-4830835db4b0" providerId="AD" clId="Web-{7B53F17C-B963-4667-A9B0-0DD550B80357}" dt="2022-04-29T09:39:40.667" v="248"/>
          <ac:spMkLst>
            <pc:docMk/>
            <pc:sldMk cId="2392750449" sldId="2335"/>
            <ac:spMk id="33" creationId="{A8F6C800-0E4B-264F-820E-A283855FC653}"/>
          </ac:spMkLst>
        </pc:spChg>
        <pc:spChg chg="del">
          <ac:chgData name="Ana Isabel Silla Cortes" userId="S::asillaco@emeal.nttdata.com::b546b5c1-2aeb-468b-a361-4830835db4b0" providerId="AD" clId="Web-{7B53F17C-B963-4667-A9B0-0DD550B80357}" dt="2022-04-29T09:39:17.432" v="239"/>
          <ac:spMkLst>
            <pc:docMk/>
            <pc:sldMk cId="2392750449" sldId="2335"/>
            <ac:spMk id="35" creationId="{30E7814E-2072-4747-9102-87A6B2FA8920}"/>
          </ac:spMkLst>
        </pc:spChg>
        <pc:spChg chg="del mod">
          <ac:chgData name="Ana Isabel Silla Cortes" userId="S::asillaco@emeal.nttdata.com::b546b5c1-2aeb-468b-a361-4830835db4b0" providerId="AD" clId="Web-{7B53F17C-B963-4667-A9B0-0DD550B80357}" dt="2022-04-29T09:39:08.228" v="234"/>
          <ac:spMkLst>
            <pc:docMk/>
            <pc:sldMk cId="2392750449" sldId="2335"/>
            <ac:spMk id="37" creationId="{A8F6C800-0E4B-264F-820E-A283855FC653}"/>
          </ac:spMkLst>
        </pc:spChg>
        <pc:spChg chg="del">
          <ac:chgData name="Ana Isabel Silla Cortes" userId="S::asillaco@emeal.nttdata.com::b546b5c1-2aeb-468b-a361-4830835db4b0" providerId="AD" clId="Web-{7B53F17C-B963-4667-A9B0-0DD550B80357}" dt="2022-04-29T09:39:19.182" v="240"/>
          <ac:spMkLst>
            <pc:docMk/>
            <pc:sldMk cId="2392750449" sldId="2335"/>
            <ac:spMk id="38" creationId="{30E7814E-2072-4747-9102-87A6B2FA8920}"/>
          </ac:spMkLst>
        </pc:spChg>
        <pc:spChg chg="del">
          <ac:chgData name="Ana Isabel Silla Cortes" userId="S::asillaco@emeal.nttdata.com::b546b5c1-2aeb-468b-a361-4830835db4b0" providerId="AD" clId="Web-{7B53F17C-B963-4667-A9B0-0DD550B80357}" dt="2022-04-29T09:39:29.229" v="243"/>
          <ac:spMkLst>
            <pc:docMk/>
            <pc:sldMk cId="2392750449" sldId="2335"/>
            <ac:spMk id="43" creationId="{30E7814E-2072-4747-9102-87A6B2FA8920}"/>
          </ac:spMkLst>
        </pc:spChg>
        <pc:spChg chg="del mod">
          <ac:chgData name="Ana Isabel Silla Cortes" userId="S::asillaco@emeal.nttdata.com::b546b5c1-2aeb-468b-a361-4830835db4b0" providerId="AD" clId="Web-{7B53F17C-B963-4667-A9B0-0DD550B80357}" dt="2022-04-29T09:39:06.119" v="233"/>
          <ac:spMkLst>
            <pc:docMk/>
            <pc:sldMk cId="2392750449" sldId="2335"/>
            <ac:spMk id="60" creationId="{A8F6C800-0E4B-264F-820E-A283855FC653}"/>
          </ac:spMkLst>
        </pc:spChg>
      </pc:sldChg>
      <pc:sldChg chg="modSp">
        <pc:chgData name="Ana Isabel Silla Cortes" userId="S::asillaco@emeal.nttdata.com::b546b5c1-2aeb-468b-a361-4830835db4b0" providerId="AD" clId="Web-{7B53F17C-B963-4667-A9B0-0DD550B80357}" dt="2022-04-29T09:47:27.865" v="554" actId="20577"/>
        <pc:sldMkLst>
          <pc:docMk/>
          <pc:sldMk cId="981156525" sldId="2418"/>
        </pc:sldMkLst>
        <pc:spChg chg="mod">
          <ac:chgData name="Ana Isabel Silla Cortes" userId="S::asillaco@emeal.nttdata.com::b546b5c1-2aeb-468b-a361-4830835db4b0" providerId="AD" clId="Web-{7B53F17C-B963-4667-A9B0-0DD550B80357}" dt="2022-04-29T09:47:27.865" v="554" actId="20577"/>
          <ac:spMkLst>
            <pc:docMk/>
            <pc:sldMk cId="981156525" sldId="2418"/>
            <ac:spMk id="2" creationId="{830EE9A9-04A7-6669-A951-D6117184AC85}"/>
          </ac:spMkLst>
        </pc:spChg>
      </pc:sldChg>
      <pc:sldChg chg="add del replId">
        <pc:chgData name="Ana Isabel Silla Cortes" userId="S::asillaco@emeal.nttdata.com::b546b5c1-2aeb-468b-a361-4830835db4b0" providerId="AD" clId="Web-{7B53F17C-B963-4667-A9B0-0DD550B80357}" dt="2022-04-29T09:43:47.376" v="429"/>
        <pc:sldMkLst>
          <pc:docMk/>
          <pc:sldMk cId="818296203" sldId="2430"/>
        </pc:sldMkLst>
      </pc:sldChg>
      <pc:sldChg chg="add del replId">
        <pc:chgData name="Ana Isabel Silla Cortes" userId="S::asillaco@emeal.nttdata.com::b546b5c1-2aeb-468b-a361-4830835db4b0" providerId="AD" clId="Web-{7B53F17C-B963-4667-A9B0-0DD550B80357}" dt="2022-04-29T09:32:40.782" v="77"/>
        <pc:sldMkLst>
          <pc:docMk/>
          <pc:sldMk cId="1280179768" sldId="2430"/>
        </pc:sldMkLst>
      </pc:sldChg>
      <pc:sldChg chg="addSp delSp modSp add replId">
        <pc:chgData name="Ana Isabel Silla Cortes" userId="S::asillaco@emeal.nttdata.com::b546b5c1-2aeb-468b-a361-4830835db4b0" providerId="AD" clId="Web-{7B53F17C-B963-4667-A9B0-0DD550B80357}" dt="2022-04-29T09:50:13.619" v="563" actId="1076"/>
        <pc:sldMkLst>
          <pc:docMk/>
          <pc:sldMk cId="2485783394" sldId="2430"/>
        </pc:sldMkLst>
        <pc:picChg chg="del">
          <ac:chgData name="Ana Isabel Silla Cortes" userId="S::asillaco@emeal.nttdata.com::b546b5c1-2aeb-468b-a361-4830835db4b0" providerId="AD" clId="Web-{7B53F17C-B963-4667-A9B0-0DD550B80357}" dt="2022-04-29T09:47:47.616" v="557"/>
          <ac:picMkLst>
            <pc:docMk/>
            <pc:sldMk cId="2485783394" sldId="2430"/>
            <ac:picMk id="2" creationId="{00000000-0000-0000-0000-000000000000}"/>
          </ac:picMkLst>
        </pc:picChg>
        <pc:picChg chg="del">
          <ac:chgData name="Ana Isabel Silla Cortes" userId="S::asillaco@emeal.nttdata.com::b546b5c1-2aeb-468b-a361-4830835db4b0" providerId="AD" clId="Web-{7B53F17C-B963-4667-A9B0-0DD550B80357}" dt="2022-04-29T09:47:45.647" v="556"/>
          <ac:picMkLst>
            <pc:docMk/>
            <pc:sldMk cId="2485783394" sldId="2430"/>
            <ac:picMk id="4" creationId="{00000000-0000-0000-0000-000000000000}"/>
          </ac:picMkLst>
        </pc:picChg>
        <pc:picChg chg="add mod">
          <ac:chgData name="Ana Isabel Silla Cortes" userId="S::asillaco@emeal.nttdata.com::b546b5c1-2aeb-468b-a361-4830835db4b0" providerId="AD" clId="Web-{7B53F17C-B963-4667-A9B0-0DD550B80357}" dt="2022-04-29T09:50:13.619" v="563" actId="1076"/>
          <ac:picMkLst>
            <pc:docMk/>
            <pc:sldMk cId="2485783394" sldId="2430"/>
            <ac:picMk id="6" creationId="{F0743334-4DD0-B4A8-CC16-ADB839E236C5}"/>
          </ac:picMkLst>
        </pc:picChg>
      </pc:sldChg>
      <pc:sldChg chg="add del replId">
        <pc:chgData name="Ana Isabel Silla Cortes" userId="S::asillaco@emeal.nttdata.com::b546b5c1-2aeb-468b-a361-4830835db4b0" providerId="AD" clId="Web-{7B53F17C-B963-4667-A9B0-0DD550B80357}" dt="2022-04-29T09:32:50.329" v="80"/>
        <pc:sldMkLst>
          <pc:docMk/>
          <pc:sldMk cId="3711772073" sldId="2430"/>
        </pc:sldMkLst>
      </pc:sldChg>
      <pc:sldChg chg="addSp delSp modSp new del">
        <pc:chgData name="Ana Isabel Silla Cortes" userId="S::asillaco@emeal.nttdata.com::b546b5c1-2aeb-468b-a361-4830835db4b0" providerId="AD" clId="Web-{7B53F17C-B963-4667-A9B0-0DD550B80357}" dt="2022-04-29T09:50:07.197" v="561"/>
        <pc:sldMkLst>
          <pc:docMk/>
          <pc:sldMk cId="2086645904" sldId="2431"/>
        </pc:sldMkLst>
        <pc:spChg chg="del">
          <ac:chgData name="Ana Isabel Silla Cortes" userId="S::asillaco@emeal.nttdata.com::b546b5c1-2aeb-468b-a361-4830835db4b0" providerId="AD" clId="Web-{7B53F17C-B963-4667-A9B0-0DD550B80357}" dt="2022-04-29T09:49:56.900" v="559"/>
          <ac:spMkLst>
            <pc:docMk/>
            <pc:sldMk cId="2086645904" sldId="2431"/>
            <ac:spMk id="3" creationId="{044E1466-9607-D587-071A-366B3C843E22}"/>
          </ac:spMkLst>
        </pc:spChg>
        <pc:picChg chg="add mod ord">
          <ac:chgData name="Ana Isabel Silla Cortes" userId="S::asillaco@emeal.nttdata.com::b546b5c1-2aeb-468b-a361-4830835db4b0" providerId="AD" clId="Web-{7B53F17C-B963-4667-A9B0-0DD550B80357}" dt="2022-04-29T09:49:56.900" v="559"/>
          <ac:picMkLst>
            <pc:docMk/>
            <pc:sldMk cId="2086645904" sldId="2431"/>
            <ac:picMk id="5" creationId="{0A5D3B03-338C-36F7-201E-FF96BA033931}"/>
          </ac:picMkLst>
        </pc:picChg>
      </pc:sldChg>
    </pc:docChg>
  </pc:docChgLst>
  <pc:docChgLst>
    <pc:chgData name="Ana Isabel Silla Cortes" userId="S::asillaco@emeal.nttdata.com::b546b5c1-2aeb-468b-a361-4830835db4b0" providerId="AD" clId="Web-{59C1FA84-5B3B-4145-9C57-9757657DC920}"/>
    <pc:docChg chg="modSld">
      <pc:chgData name="Ana Isabel Silla Cortes" userId="S::asillaco@emeal.nttdata.com::b546b5c1-2aeb-468b-a361-4830835db4b0" providerId="AD" clId="Web-{59C1FA84-5B3B-4145-9C57-9757657DC920}" dt="2022-04-29T08:54:53.147" v="15"/>
      <pc:docMkLst>
        <pc:docMk/>
      </pc:docMkLst>
      <pc:sldChg chg="addSp delSp modSp">
        <pc:chgData name="Ana Isabel Silla Cortes" userId="S::asillaco@emeal.nttdata.com::b546b5c1-2aeb-468b-a361-4830835db4b0" providerId="AD" clId="Web-{59C1FA84-5B3B-4145-9C57-9757657DC920}" dt="2022-04-29T08:54:53.147" v="15"/>
        <pc:sldMkLst>
          <pc:docMk/>
          <pc:sldMk cId="2601384674" sldId="2420"/>
        </pc:sldMkLst>
        <pc:spChg chg="add del">
          <ac:chgData name="Ana Isabel Silla Cortes" userId="S::asillaco@emeal.nttdata.com::b546b5c1-2aeb-468b-a361-4830835db4b0" providerId="AD" clId="Web-{59C1FA84-5B3B-4145-9C57-9757657DC920}" dt="2022-04-29T08:54:08.036" v="8"/>
          <ac:spMkLst>
            <pc:docMk/>
            <pc:sldMk cId="2601384674" sldId="2420"/>
            <ac:spMk id="2" creationId="{DFDF8EEE-00F5-ACD4-97CE-A2309F69771D}"/>
          </ac:spMkLst>
        </pc:spChg>
        <pc:spChg chg="mod">
          <ac:chgData name="Ana Isabel Silla Cortes" userId="S::asillaco@emeal.nttdata.com::b546b5c1-2aeb-468b-a361-4830835db4b0" providerId="AD" clId="Web-{59C1FA84-5B3B-4145-9C57-9757657DC920}" dt="2022-04-29T08:53:39.223" v="1" actId="20577"/>
          <ac:spMkLst>
            <pc:docMk/>
            <pc:sldMk cId="2601384674" sldId="2420"/>
            <ac:spMk id="28" creationId="{DD453CE2-6FED-4720-8043-DBD1D2185AE1}"/>
          </ac:spMkLst>
        </pc:spChg>
        <pc:picChg chg="add del mod">
          <ac:chgData name="Ana Isabel Silla Cortes" userId="S::asillaco@emeal.nttdata.com::b546b5c1-2aeb-468b-a361-4830835db4b0" providerId="AD" clId="Web-{59C1FA84-5B3B-4145-9C57-9757657DC920}" dt="2022-04-29T08:53:54.645" v="5"/>
          <ac:picMkLst>
            <pc:docMk/>
            <pc:sldMk cId="2601384674" sldId="2420"/>
            <ac:picMk id="4" creationId="{39E0DBFB-AE86-ABB0-0785-884AA1E7F44B}"/>
          </ac:picMkLst>
        </pc:picChg>
        <pc:picChg chg="del">
          <ac:chgData name="Ana Isabel Silla Cortes" userId="S::asillaco@emeal.nttdata.com::b546b5c1-2aeb-468b-a361-4830835db4b0" providerId="AD" clId="Web-{59C1FA84-5B3B-4145-9C57-9757657DC920}" dt="2022-04-29T08:53:43.317" v="2"/>
          <ac:picMkLst>
            <pc:docMk/>
            <pc:sldMk cId="2601384674" sldId="2420"/>
            <ac:picMk id="6" creationId="{00000000-0000-0000-0000-000000000000}"/>
          </ac:picMkLst>
        </pc:picChg>
        <pc:picChg chg="add del mod">
          <ac:chgData name="Ana Isabel Silla Cortes" userId="S::asillaco@emeal.nttdata.com::b546b5c1-2aeb-468b-a361-4830835db4b0" providerId="AD" clId="Web-{59C1FA84-5B3B-4145-9C57-9757657DC920}" dt="2022-04-29T08:54:03.552" v="7"/>
          <ac:picMkLst>
            <pc:docMk/>
            <pc:sldMk cId="2601384674" sldId="2420"/>
            <ac:picMk id="7" creationId="{4C9685F4-AE8D-6188-C64A-17EBC94A85F4}"/>
          </ac:picMkLst>
        </pc:picChg>
        <pc:picChg chg="add del mod">
          <ac:chgData name="Ana Isabel Silla Cortes" userId="S::asillaco@emeal.nttdata.com::b546b5c1-2aeb-468b-a361-4830835db4b0" providerId="AD" clId="Web-{59C1FA84-5B3B-4145-9C57-9757657DC920}" dt="2022-04-29T08:54:17.365" v="10"/>
          <ac:picMkLst>
            <pc:docMk/>
            <pc:sldMk cId="2601384674" sldId="2420"/>
            <ac:picMk id="9" creationId="{1E6975B0-B8D4-A62B-B565-9E2743D23C9A}"/>
          </ac:picMkLst>
        </pc:picChg>
        <pc:picChg chg="add del mod">
          <ac:chgData name="Ana Isabel Silla Cortes" userId="S::asillaco@emeal.nttdata.com::b546b5c1-2aeb-468b-a361-4830835db4b0" providerId="AD" clId="Web-{59C1FA84-5B3B-4145-9C57-9757657DC920}" dt="2022-04-29T08:54:29.584" v="12"/>
          <ac:picMkLst>
            <pc:docMk/>
            <pc:sldMk cId="2601384674" sldId="2420"/>
            <ac:picMk id="10" creationId="{A70E6C62-0C7A-EC13-D49E-1BD34223C28E}"/>
          </ac:picMkLst>
        </pc:picChg>
        <pc:picChg chg="add del mod">
          <ac:chgData name="Ana Isabel Silla Cortes" userId="S::asillaco@emeal.nttdata.com::b546b5c1-2aeb-468b-a361-4830835db4b0" providerId="AD" clId="Web-{59C1FA84-5B3B-4145-9C57-9757657DC920}" dt="2022-04-29T08:54:53.147" v="15"/>
          <ac:picMkLst>
            <pc:docMk/>
            <pc:sldMk cId="2601384674" sldId="2420"/>
            <ac:picMk id="11" creationId="{0A559B53-6FC8-991C-2ADE-A4B7D31962D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E52920-12BD-1A48-A1C0-0AA50D56D498}" type="datetimeFigureOut">
              <a:rPr lang="es-ES" smtClean="0"/>
              <a:t>21/12/2022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73A9E-BD46-B147-9C35-7E2E95E145E6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67912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573A9E-BD46-B147-9C35-7E2E95E145E6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472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4093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20265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045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70730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4127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3234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9791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24769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1490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58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31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573A9E-BD46-B147-9C35-7E2E95E145E6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936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478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825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048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2229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29673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E8019-F407-4E58-A426-0BC8D0BB3C3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53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573A9E-BD46-B147-9C35-7E2E95E145E6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3798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EECA4C-ADD4-D24C-A49B-6EB807AD8A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9587F3A-8226-DE4A-AEE1-3968DC0784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CABAE54-FF9B-C746-BCB4-799B276F1A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6C3F20-E908-4F60-A903-F87DCAFA7EB9}" type="datetime1">
              <a:rPr lang="es-ES" smtClean="0">
                <a:solidFill>
                  <a:srgbClr val="0A2C65"/>
                </a:solidFill>
              </a:rPr>
              <a:t>21/12/2022</a:t>
            </a:fld>
            <a:endParaRPr lang="es-ES" dirty="0">
              <a:solidFill>
                <a:srgbClr val="0A2C65"/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777581B-A218-7E47-9C4B-A6221690C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ES" dirty="0">
              <a:solidFill>
                <a:srgbClr val="0A2C65"/>
              </a:solidFill>
            </a:endParaRPr>
          </a:p>
        </p:txBody>
      </p:sp>
      <p:sp>
        <p:nvSpPr>
          <p:cNvPr id="7" name="Marcador de número de diapositiva 3">
            <a:extLst>
              <a:ext uri="{FF2B5EF4-FFF2-40B4-BE49-F238E27FC236}">
                <a16:creationId xmlns:a16="http://schemas.microsoft.com/office/drawing/2014/main" id="{87D5321E-1E1F-4F9E-8898-A55D0C5E3D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22157" y="6483676"/>
            <a:ext cx="569843" cy="365125"/>
          </a:xfrm>
          <a:prstGeom prst="rect">
            <a:avLst/>
          </a:prstGeom>
        </p:spPr>
        <p:txBody>
          <a:bodyPr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160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245556F-C95C-CA45-8B20-7C737D5AC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203A347-0E7D-E842-B2D7-DBCFC39556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4E931AB-01D4-1F4E-9727-3C1D3A61ED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F821DE5-9DF2-41DF-A27C-A550CBFCBE57}" type="datetime1">
              <a:rPr lang="es-ES" smtClean="0">
                <a:solidFill>
                  <a:srgbClr val="0A2C65"/>
                </a:solidFill>
              </a:rPr>
              <a:t>21/12/2022</a:t>
            </a:fld>
            <a:endParaRPr lang="es-ES" dirty="0">
              <a:solidFill>
                <a:srgbClr val="0A2C65"/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B814326-665B-DC46-928A-C304B5AFF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ES" dirty="0">
              <a:solidFill>
                <a:srgbClr val="0A2C65"/>
              </a:solidFill>
            </a:endParaRPr>
          </a:p>
        </p:txBody>
      </p:sp>
      <p:sp>
        <p:nvSpPr>
          <p:cNvPr id="8" name="Marcador de número de diapositiva 3">
            <a:extLst>
              <a:ext uri="{FF2B5EF4-FFF2-40B4-BE49-F238E27FC236}">
                <a16:creationId xmlns:a16="http://schemas.microsoft.com/office/drawing/2014/main" id="{B5882E7F-CB48-4FB1-8ECC-9D146A301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22157" y="6483676"/>
            <a:ext cx="569843" cy="365125"/>
          </a:xfrm>
          <a:prstGeom prst="rect">
            <a:avLst/>
          </a:prstGeom>
        </p:spPr>
        <p:txBody>
          <a:bodyPr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423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:a16="http://schemas.microsoft.com/office/drawing/2014/main" id="{769BA105-053E-5740-AF2E-3FB6E4155B5B}"/>
              </a:ext>
            </a:extLst>
          </p:cNvPr>
          <p:cNvSpPr/>
          <p:nvPr userDrawn="1"/>
        </p:nvSpPr>
        <p:spPr>
          <a:xfrm>
            <a:off x="0" y="615982"/>
            <a:ext cx="12191999" cy="62420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C9FB7AE-7478-8E4E-8D81-1273269F8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D2938"/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16" name="1 Marcador de número de diapositiva">
            <a:extLst>
              <a:ext uri="{FF2B5EF4-FFF2-40B4-BE49-F238E27FC236}">
                <a16:creationId xmlns:a16="http://schemas.microsoft.com/office/drawing/2014/main" id="{7D44E46A-9B2C-DC4F-9AD4-A252D381928C}"/>
              </a:ext>
            </a:extLst>
          </p:cNvPr>
          <p:cNvSpPr txBox="1">
            <a:spLocks/>
          </p:cNvSpPr>
          <p:nvPr userDrawn="1"/>
        </p:nvSpPr>
        <p:spPr>
          <a:xfrm>
            <a:off x="11068316" y="6436114"/>
            <a:ext cx="1016633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algn="r">
              <a:defRPr sz="900">
                <a:solidFill>
                  <a:srgbClr val="9AAE04"/>
                </a:solidFill>
              </a:defRPr>
            </a:lvl1pPr>
          </a:lstStyle>
          <a:p>
            <a:fld id="{E60061AB-E3E3-4B82-98B1-945D99ABF5FB}" type="slidenum">
              <a:rPr lang="es-ES" sz="1100" smtClean="0">
                <a:solidFill>
                  <a:srgbClr val="FFFFFF"/>
                </a:solidFill>
              </a:rPr>
              <a:pPr/>
              <a:t>‹Nº›</a:t>
            </a:fld>
            <a:endParaRPr lang="es-ES" sz="1100" dirty="0">
              <a:solidFill>
                <a:srgbClr val="FFFFFF"/>
              </a:solidFill>
            </a:endParaRPr>
          </a:p>
        </p:txBody>
      </p:sp>
      <p:pic>
        <p:nvPicPr>
          <p:cNvPr id="6" name="Imagen 5" descr="Imagen que contiene Texto&#10;&#10;Descripción generada automáticamente">
            <a:extLst>
              <a:ext uri="{FF2B5EF4-FFF2-40B4-BE49-F238E27FC236}">
                <a16:creationId xmlns:a16="http://schemas.microsoft.com/office/drawing/2014/main" id="{79AC43FD-2E8A-BEB1-29D0-AFF4B6A7DD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02743" y="0"/>
            <a:ext cx="2089257" cy="615982"/>
          </a:xfrm>
          <a:prstGeom prst="rect">
            <a:avLst/>
          </a:prstGeom>
        </p:spPr>
      </p:pic>
      <p:pic>
        <p:nvPicPr>
          <p:cNvPr id="7" name="Imagen 6" descr="Icono&#10;&#10;Descripción generada automáticamente">
            <a:extLst>
              <a:ext uri="{FF2B5EF4-FFF2-40B4-BE49-F238E27FC236}">
                <a16:creationId xmlns:a16="http://schemas.microsoft.com/office/drawing/2014/main" id="{30A722A7-163E-B667-A509-D4BFB7AA9F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86216" y="0"/>
            <a:ext cx="616527" cy="61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484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ector recto 6"/>
          <p:cNvCxnSpPr/>
          <p:nvPr userDrawn="1"/>
        </p:nvCxnSpPr>
        <p:spPr>
          <a:xfrm>
            <a:off x="793374" y="311452"/>
            <a:ext cx="376" cy="637762"/>
          </a:xfrm>
          <a:prstGeom prst="line">
            <a:avLst/>
          </a:prstGeom>
          <a:ln w="19050">
            <a:solidFill>
              <a:srgbClr val="2E6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número de diapositiva 3">
            <a:extLst>
              <a:ext uri="{FF2B5EF4-FFF2-40B4-BE49-F238E27FC236}">
                <a16:creationId xmlns:a16="http://schemas.microsoft.com/office/drawing/2014/main" id="{DFE40631-1B8D-1D4E-8388-4D2B90DD3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22157" y="6483676"/>
            <a:ext cx="569843" cy="365125"/>
          </a:xfrm>
          <a:prstGeom prst="rect">
            <a:avLst/>
          </a:prstGeom>
        </p:spPr>
        <p:txBody>
          <a:bodyPr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546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395" imgH="396" progId="TCLayout.ActiveDocument.1">
                  <p:embed/>
                </p:oleObj>
              </mc:Choice>
              <mc:Fallback>
                <p:oleObj name="Diapositiva de think-cell" r:id="rId7" imgW="395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n 4" descr="Imagen que contiene Texto&#10;&#10;Descripción generada automáticamente">
            <a:extLst>
              <a:ext uri="{FF2B5EF4-FFF2-40B4-BE49-F238E27FC236}">
                <a16:creationId xmlns:a16="http://schemas.microsoft.com/office/drawing/2014/main" id="{0C74F47A-48B6-2DB6-B976-74682EE1484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02743" y="0"/>
            <a:ext cx="2089257" cy="615982"/>
          </a:xfrm>
          <a:prstGeom prst="rect">
            <a:avLst/>
          </a:prstGeom>
        </p:spPr>
      </p:pic>
      <p:pic>
        <p:nvPicPr>
          <p:cNvPr id="9" name="Imagen 8" descr="Icono&#10;&#10;Descripción generada automáticamente">
            <a:extLst>
              <a:ext uri="{FF2B5EF4-FFF2-40B4-BE49-F238E27FC236}">
                <a16:creationId xmlns:a16="http://schemas.microsoft.com/office/drawing/2014/main" id="{63015B0A-815D-B058-8B2C-C1B1E7C41B7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486216" y="0"/>
            <a:ext cx="616527" cy="616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66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5" r:id="rId3"/>
    <p:sldLayoutId id="2147484266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8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1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1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4D134A3-CB7D-524E-8D41-A879FF9261F5}" type="slidenum">
              <a:rPr lang="es-ES" smtClean="0">
                <a:solidFill>
                  <a:srgbClr val="0A2C65"/>
                </a:solidFill>
              </a:rPr>
              <a:pPr/>
              <a:t>1</a:t>
            </a:fld>
            <a:endParaRPr lang="es-ES" dirty="0">
              <a:solidFill>
                <a:srgbClr val="0A2C65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83A216A-6F12-B440-B7ED-6D6394B9FB24}"/>
              </a:ext>
            </a:extLst>
          </p:cNvPr>
          <p:cNvSpPr/>
          <p:nvPr/>
        </p:nvSpPr>
        <p:spPr>
          <a:xfrm>
            <a:off x="822500" y="1173620"/>
            <a:ext cx="4939108" cy="5684380"/>
          </a:xfrm>
          <a:prstGeom prst="rect">
            <a:avLst/>
          </a:prstGeom>
          <a:solidFill>
            <a:srgbClr val="0A2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F77401DE-B532-9E4B-8E43-9E44546E7A61}"/>
              </a:ext>
            </a:extLst>
          </p:cNvPr>
          <p:cNvSpPr txBox="1"/>
          <p:nvPr/>
        </p:nvSpPr>
        <p:spPr>
          <a:xfrm>
            <a:off x="855809" y="1469834"/>
            <a:ext cx="4939108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>
              <a:defRPr/>
            </a:pPr>
            <a:r>
              <a:rPr lang="es-ES_tradnl" sz="3600" b="1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latin typeface="Century Gothic"/>
              </a:rPr>
              <a:t>PROYECTO DAW</a:t>
            </a:r>
          </a:p>
          <a:p>
            <a:pPr lvl="0">
              <a:defRPr/>
            </a:pPr>
            <a:endParaRPr lang="es-ES_tradnl" sz="3600" b="1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  <a:latin typeface="Century Gothic"/>
            </a:endParaRPr>
          </a:p>
          <a:p>
            <a:pPr lvl="0">
              <a:defRPr/>
            </a:pPr>
            <a:r>
              <a:rPr lang="es-ES_tradnl" sz="3600" b="1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latin typeface="Century Gothic"/>
              </a:rPr>
              <a:t>David Pastor Puyuelo</a:t>
            </a:r>
            <a:endParaRPr lang="es-ES" dirty="0"/>
          </a:p>
        </p:txBody>
      </p:sp>
      <p:sp>
        <p:nvSpPr>
          <p:cNvPr id="70" name="Rectángulo 69">
            <a:extLst>
              <a:ext uri="{FF2B5EF4-FFF2-40B4-BE49-F238E27FC236}">
                <a16:creationId xmlns:a16="http://schemas.microsoft.com/office/drawing/2014/main" id="{DCE96065-934C-B24D-A2ED-8BBE02A29720}"/>
              </a:ext>
            </a:extLst>
          </p:cNvPr>
          <p:cNvSpPr/>
          <p:nvPr/>
        </p:nvSpPr>
        <p:spPr>
          <a:xfrm>
            <a:off x="1061106" y="5192922"/>
            <a:ext cx="4120494" cy="1388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pic>
        <p:nvPicPr>
          <p:cNvPr id="5" name="Imagen 4" descr="Imagen que contiene Texto&#10;&#10;Descripción generada automáticamente">
            <a:extLst>
              <a:ext uri="{FF2B5EF4-FFF2-40B4-BE49-F238E27FC236}">
                <a16:creationId xmlns:a16="http://schemas.microsoft.com/office/drawing/2014/main" id="{2ACCF5AE-9624-F230-A9F4-6BD281674A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8758" y="5579357"/>
            <a:ext cx="2089257" cy="61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6994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b="1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b="1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8.- Preguntas</a:t>
            </a:r>
          </a:p>
        </p:txBody>
      </p:sp>
    </p:spTree>
    <p:extLst>
      <p:ext uri="{BB962C8B-B14F-4D97-AF65-F5344CB8AC3E}">
        <p14:creationId xmlns:p14="http://schemas.microsoft.com/office/powerpoint/2010/main" val="39552072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4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Presupuesto / Margen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11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D50C29B-E365-E649-3DD6-42894665E0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3704" y="985820"/>
            <a:ext cx="5754441" cy="968507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F6EFD302-BC54-152F-F162-39E96DE062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0247" y="2106103"/>
            <a:ext cx="5647897" cy="3657415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CB3FBD7C-0B3D-099F-7B23-F0C38D4DA4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83782" y="1555973"/>
            <a:ext cx="5528661" cy="796707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8F849E6E-5F16-7414-ACAB-4AC08C20E7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54974" y="2763590"/>
            <a:ext cx="5885754" cy="2538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394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b="1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b="1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8.- Preguntas</a:t>
            </a:r>
          </a:p>
        </p:txBody>
      </p:sp>
    </p:spTree>
    <p:extLst>
      <p:ext uri="{BB962C8B-B14F-4D97-AF65-F5344CB8AC3E}">
        <p14:creationId xmlns:p14="http://schemas.microsoft.com/office/powerpoint/2010/main" val="955716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5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Metodología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13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217090" name="Imagen 1">
            <a:extLst>
              <a:ext uri="{FF2B5EF4-FFF2-40B4-BE49-F238E27FC236}">
                <a16:creationId xmlns:a16="http://schemas.microsoft.com/office/drawing/2014/main" id="{7571D5ED-B2F8-D0B6-50CF-4858F13B5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069" y="1048939"/>
            <a:ext cx="4246055" cy="1456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59BD93E4-2F06-855A-8EC0-1E96997AB1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33905" y="2647466"/>
            <a:ext cx="7917964" cy="376618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40D463A-CC93-4FB8-2AF8-50C1CCA70D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86400" y="1017175"/>
            <a:ext cx="3683523" cy="1410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5321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b="1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b="1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8.- Preguntas</a:t>
            </a:r>
          </a:p>
        </p:txBody>
      </p:sp>
    </p:spTree>
    <p:extLst>
      <p:ext uri="{BB962C8B-B14F-4D97-AF65-F5344CB8AC3E}">
        <p14:creationId xmlns:p14="http://schemas.microsoft.com/office/powerpoint/2010/main" val="38450017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6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Diagramas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15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6" name="Imagen 5" descr="Diagrama&#10;&#10;Descripción generada automáticamente">
            <a:extLst>
              <a:ext uri="{FF2B5EF4-FFF2-40B4-BE49-F238E27FC236}">
                <a16:creationId xmlns:a16="http://schemas.microsoft.com/office/drawing/2014/main" id="{078B98BF-1B0F-73BC-C207-0844D465CE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33578" y="1470074"/>
            <a:ext cx="6292850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1201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6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Diagramas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16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4" name="Imagen 3" descr="Diagrama, Esquemático&#10;&#10;Descripción generada automáticamente">
            <a:extLst>
              <a:ext uri="{FF2B5EF4-FFF2-40B4-BE49-F238E27FC236}">
                <a16:creationId xmlns:a16="http://schemas.microsoft.com/office/drawing/2014/main" id="{BEFA5A42-025D-2B84-E278-99515D321C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14039" y="965949"/>
            <a:ext cx="5767096" cy="2728087"/>
          </a:xfrm>
          <a:prstGeom prst="rect">
            <a:avLst/>
          </a:prstGeom>
        </p:spPr>
      </p:pic>
      <p:pic>
        <p:nvPicPr>
          <p:cNvPr id="10" name="Imagen 9" descr="Diagrama&#10;&#10;Descripción generada automáticamente">
            <a:extLst>
              <a:ext uri="{FF2B5EF4-FFF2-40B4-BE49-F238E27FC236}">
                <a16:creationId xmlns:a16="http://schemas.microsoft.com/office/drawing/2014/main" id="{5C709541-8B0B-9315-7E22-16112B2C72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18406" y="4120511"/>
            <a:ext cx="5379437" cy="2025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0245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6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Diagramas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17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6" name="Imagen 5" descr="Diagrama&#10;&#10;Descripción generada automáticamente">
            <a:extLst>
              <a:ext uri="{FF2B5EF4-FFF2-40B4-BE49-F238E27FC236}">
                <a16:creationId xmlns:a16="http://schemas.microsoft.com/office/drawing/2014/main" id="{404AC8D8-AD88-38BE-99DC-905B7D21E9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8182" y="1061040"/>
            <a:ext cx="6153674" cy="5422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362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b="1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8.- Preguntas</a:t>
            </a:r>
          </a:p>
        </p:txBody>
      </p:sp>
    </p:spTree>
    <p:extLst>
      <p:ext uri="{BB962C8B-B14F-4D97-AF65-F5344CB8AC3E}">
        <p14:creationId xmlns:p14="http://schemas.microsoft.com/office/powerpoint/2010/main" val="18821423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b="1" dirty="0">
                <a:solidFill>
                  <a:srgbClr val="EAE5DF"/>
                </a:solidFill>
                <a:ea typeface="Helvetica Neue Thin" charset="0"/>
                <a:cs typeface="Arial"/>
              </a:rPr>
              <a:t>8</a:t>
            </a:r>
            <a:r>
              <a:rPr lang="es-ES_tradnl" sz="2000" b="1" dirty="0">
                <a:solidFill>
                  <a:srgbClr val="EAE5DF"/>
                </a:solidFill>
                <a:cs typeface="Arial"/>
              </a:rPr>
              <a:t>.- Preguntas</a:t>
            </a:r>
          </a:p>
        </p:txBody>
      </p:sp>
    </p:spTree>
    <p:extLst>
      <p:ext uri="{BB962C8B-B14F-4D97-AF65-F5344CB8AC3E}">
        <p14:creationId xmlns:p14="http://schemas.microsoft.com/office/powerpoint/2010/main" val="30807873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8.- Preguntas</a:t>
            </a:r>
          </a:p>
        </p:txBody>
      </p:sp>
    </p:spTree>
    <p:extLst>
      <p:ext uri="{BB962C8B-B14F-4D97-AF65-F5344CB8AC3E}">
        <p14:creationId xmlns:p14="http://schemas.microsoft.com/office/powerpoint/2010/main" val="29885275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CuadroTexto 741">
            <a:extLst>
              <a:ext uri="{FF2B5EF4-FFF2-40B4-BE49-F238E27FC236}">
                <a16:creationId xmlns:a16="http://schemas.microsoft.com/office/drawing/2014/main" id="{9F99EB93-7828-974A-99B9-AD2DB6B52388}"/>
              </a:ext>
            </a:extLst>
          </p:cNvPr>
          <p:cNvSpPr txBox="1"/>
          <p:nvPr/>
        </p:nvSpPr>
        <p:spPr>
          <a:xfrm>
            <a:off x="960825" y="3564434"/>
            <a:ext cx="4472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dirty="0">
                <a:solidFill>
                  <a:srgbClr val="FFFFFF"/>
                </a:solidFill>
                <a:cs typeface="Arial" panose="020B0604020202020204" pitchFamily="34" charset="0"/>
              </a:rPr>
              <a:t>Propuesta técnica y económica</a:t>
            </a:r>
            <a:endParaRPr lang="es-ES_tradnl" sz="11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42BDF133-C431-CD46-8725-718EFFEC9829}"/>
              </a:ext>
            </a:extLst>
          </p:cNvPr>
          <p:cNvGrpSpPr/>
          <p:nvPr/>
        </p:nvGrpSpPr>
        <p:grpSpPr>
          <a:xfrm>
            <a:off x="2394563" y="5593953"/>
            <a:ext cx="703219" cy="415450"/>
            <a:chOff x="394036" y="340632"/>
            <a:chExt cx="1254840" cy="741339"/>
          </a:xfrm>
        </p:grpSpPr>
        <p:sp>
          <p:nvSpPr>
            <p:cNvPr id="39" name="Forma libre 38">
              <a:extLst>
                <a:ext uri="{FF2B5EF4-FFF2-40B4-BE49-F238E27FC236}">
                  <a16:creationId xmlns:a16="http://schemas.microsoft.com/office/drawing/2014/main" id="{483339CC-3B0E-C441-95DB-361721D7C9F3}"/>
                </a:ext>
              </a:extLst>
            </p:cNvPr>
            <p:cNvSpPr/>
            <p:nvPr/>
          </p:nvSpPr>
          <p:spPr>
            <a:xfrm>
              <a:off x="394036" y="340632"/>
              <a:ext cx="199398" cy="491204"/>
            </a:xfrm>
            <a:custGeom>
              <a:avLst/>
              <a:gdLst>
                <a:gd name="connsiteX0" fmla="*/ 172539 w 199397"/>
                <a:gd name="connsiteY0" fmla="*/ 494525 h 491204"/>
                <a:gd name="connsiteX1" fmla="*/ 126315 w 199397"/>
                <a:gd name="connsiteY1" fmla="*/ 487020 h 491204"/>
                <a:gd name="connsiteX2" fmla="*/ 88656 w 199397"/>
                <a:gd name="connsiteY2" fmla="*/ 466189 h 491204"/>
                <a:gd name="connsiteX3" fmla="*/ 63278 w 199397"/>
                <a:gd name="connsiteY3" fmla="*/ 432760 h 491204"/>
                <a:gd name="connsiteX4" fmla="*/ 53943 w 199397"/>
                <a:gd name="connsiteY4" fmla="*/ 387551 h 491204"/>
                <a:gd name="connsiteX5" fmla="*/ 53943 w 199397"/>
                <a:gd name="connsiteY5" fmla="*/ 176515 h 491204"/>
                <a:gd name="connsiteX6" fmla="*/ 18232 w 199397"/>
                <a:gd name="connsiteY6" fmla="*/ 176515 h 491204"/>
                <a:gd name="connsiteX7" fmla="*/ 4637 w 199397"/>
                <a:gd name="connsiteY7" fmla="*/ 172467 h 491204"/>
                <a:gd name="connsiteX8" fmla="*/ 105 w 199397"/>
                <a:gd name="connsiteY8" fmla="*/ 158823 h 491204"/>
                <a:gd name="connsiteX9" fmla="*/ 105 w 199397"/>
                <a:gd name="connsiteY9" fmla="*/ 114251 h 491204"/>
                <a:gd name="connsiteX10" fmla="*/ 4637 w 199397"/>
                <a:gd name="connsiteY10" fmla="*/ 101516 h 491204"/>
                <a:gd name="connsiteX11" fmla="*/ 18232 w 199397"/>
                <a:gd name="connsiteY11" fmla="*/ 97786 h 491204"/>
                <a:gd name="connsiteX12" fmla="*/ 54033 w 199397"/>
                <a:gd name="connsiteY12" fmla="*/ 97786 h 491204"/>
                <a:gd name="connsiteX13" fmla="*/ 54033 w 199397"/>
                <a:gd name="connsiteY13" fmla="*/ 64812 h 491204"/>
                <a:gd name="connsiteX14" fmla="*/ 54486 w 199397"/>
                <a:gd name="connsiteY14" fmla="*/ 31837 h 491204"/>
                <a:gd name="connsiteX15" fmla="*/ 58384 w 199397"/>
                <a:gd name="connsiteY15" fmla="*/ 21968 h 491204"/>
                <a:gd name="connsiteX16" fmla="*/ 70348 w 199397"/>
                <a:gd name="connsiteY16" fmla="*/ 15555 h 491204"/>
                <a:gd name="connsiteX17" fmla="*/ 83127 w 199397"/>
                <a:gd name="connsiteY17" fmla="*/ 11007 h 491204"/>
                <a:gd name="connsiteX18" fmla="*/ 98535 w 199397"/>
                <a:gd name="connsiteY18" fmla="*/ 5822 h 491204"/>
                <a:gd name="connsiteX19" fmla="*/ 113717 w 199397"/>
                <a:gd name="connsiteY19" fmla="*/ 1728 h 491204"/>
                <a:gd name="connsiteX20" fmla="*/ 126179 w 199397"/>
                <a:gd name="connsiteY20" fmla="*/ 0 h 491204"/>
                <a:gd name="connsiteX21" fmla="*/ 138777 w 199397"/>
                <a:gd name="connsiteY21" fmla="*/ 5321 h 491204"/>
                <a:gd name="connsiteX22" fmla="*/ 141723 w 199397"/>
                <a:gd name="connsiteY22" fmla="*/ 19375 h 491204"/>
                <a:gd name="connsiteX23" fmla="*/ 141723 w 199397"/>
                <a:gd name="connsiteY23" fmla="*/ 58581 h 491204"/>
                <a:gd name="connsiteX24" fmla="*/ 141723 w 199397"/>
                <a:gd name="connsiteY24" fmla="*/ 97786 h 491204"/>
                <a:gd name="connsiteX25" fmla="*/ 186542 w 199397"/>
                <a:gd name="connsiteY25" fmla="*/ 97786 h 491204"/>
                <a:gd name="connsiteX26" fmla="*/ 199004 w 199397"/>
                <a:gd name="connsiteY26" fmla="*/ 101970 h 491204"/>
                <a:gd name="connsiteX27" fmla="*/ 203536 w 199397"/>
                <a:gd name="connsiteY27" fmla="*/ 115206 h 491204"/>
                <a:gd name="connsiteX28" fmla="*/ 203536 w 199397"/>
                <a:gd name="connsiteY28" fmla="*/ 157822 h 491204"/>
                <a:gd name="connsiteX29" fmla="*/ 199004 w 199397"/>
                <a:gd name="connsiteY29" fmla="*/ 172149 h 491204"/>
                <a:gd name="connsiteX30" fmla="*/ 186542 w 199397"/>
                <a:gd name="connsiteY30" fmla="*/ 176697 h 491204"/>
                <a:gd name="connsiteX31" fmla="*/ 141406 w 199397"/>
                <a:gd name="connsiteY31" fmla="*/ 176697 h 491204"/>
                <a:gd name="connsiteX32" fmla="*/ 141406 w 199397"/>
                <a:gd name="connsiteY32" fmla="*/ 235824 h 491204"/>
                <a:gd name="connsiteX33" fmla="*/ 141406 w 199397"/>
                <a:gd name="connsiteY33" fmla="*/ 255972 h 491204"/>
                <a:gd name="connsiteX34" fmla="*/ 141406 w 199397"/>
                <a:gd name="connsiteY34" fmla="*/ 276302 h 491204"/>
                <a:gd name="connsiteX35" fmla="*/ 141406 w 199397"/>
                <a:gd name="connsiteY35" fmla="*/ 335702 h 491204"/>
                <a:gd name="connsiteX36" fmla="*/ 141406 w 199397"/>
                <a:gd name="connsiteY36" fmla="*/ 336975 h 491204"/>
                <a:gd name="connsiteX37" fmla="*/ 141406 w 199397"/>
                <a:gd name="connsiteY37" fmla="*/ 338203 h 491204"/>
                <a:gd name="connsiteX38" fmla="*/ 141406 w 199397"/>
                <a:gd name="connsiteY38" fmla="*/ 379137 h 491204"/>
                <a:gd name="connsiteX39" fmla="*/ 149518 w 199397"/>
                <a:gd name="connsiteY39" fmla="*/ 408837 h 491204"/>
                <a:gd name="connsiteX40" fmla="*/ 175666 w 199397"/>
                <a:gd name="connsiteY40" fmla="*/ 417933 h 491204"/>
                <a:gd name="connsiteX41" fmla="*/ 185908 w 199397"/>
                <a:gd name="connsiteY41" fmla="*/ 422481 h 491204"/>
                <a:gd name="connsiteX42" fmla="*/ 189669 w 199397"/>
                <a:gd name="connsiteY42" fmla="*/ 433715 h 491204"/>
                <a:gd name="connsiteX43" fmla="*/ 189669 w 199397"/>
                <a:gd name="connsiteY43" fmla="*/ 477560 h 491204"/>
                <a:gd name="connsiteX44" fmla="*/ 185137 w 199397"/>
                <a:gd name="connsiteY44" fmla="*/ 490204 h 491204"/>
                <a:gd name="connsiteX45" fmla="*/ 172539 w 199397"/>
                <a:gd name="connsiteY45" fmla="*/ 494525 h 491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99397" h="491204">
                  <a:moveTo>
                    <a:pt x="172539" y="494525"/>
                  </a:moveTo>
                  <a:cubicBezTo>
                    <a:pt x="156839" y="494411"/>
                    <a:pt x="141249" y="491882"/>
                    <a:pt x="126315" y="487020"/>
                  </a:cubicBezTo>
                  <a:cubicBezTo>
                    <a:pt x="112545" y="482567"/>
                    <a:pt x="99759" y="475495"/>
                    <a:pt x="88656" y="466189"/>
                  </a:cubicBezTo>
                  <a:cubicBezTo>
                    <a:pt x="77886" y="457020"/>
                    <a:pt x="69227" y="445615"/>
                    <a:pt x="63278" y="432760"/>
                  </a:cubicBezTo>
                  <a:cubicBezTo>
                    <a:pt x="56863" y="418572"/>
                    <a:pt x="53674" y="403129"/>
                    <a:pt x="53943" y="387551"/>
                  </a:cubicBezTo>
                  <a:lnTo>
                    <a:pt x="53943" y="176515"/>
                  </a:lnTo>
                  <a:lnTo>
                    <a:pt x="18232" y="176515"/>
                  </a:lnTo>
                  <a:cubicBezTo>
                    <a:pt x="13358" y="176896"/>
                    <a:pt x="8516" y="175455"/>
                    <a:pt x="4637" y="172467"/>
                  </a:cubicBezTo>
                  <a:cubicBezTo>
                    <a:pt x="1207" y="168806"/>
                    <a:pt x="-450" y="163818"/>
                    <a:pt x="105" y="158823"/>
                  </a:cubicBezTo>
                  <a:lnTo>
                    <a:pt x="105" y="114251"/>
                  </a:lnTo>
                  <a:cubicBezTo>
                    <a:pt x="-391" y="109535"/>
                    <a:pt x="1277" y="104849"/>
                    <a:pt x="4637" y="101516"/>
                  </a:cubicBezTo>
                  <a:cubicBezTo>
                    <a:pt x="8598" y="98723"/>
                    <a:pt x="13406" y="97404"/>
                    <a:pt x="18232" y="97786"/>
                  </a:cubicBezTo>
                  <a:lnTo>
                    <a:pt x="54033" y="97786"/>
                  </a:lnTo>
                  <a:cubicBezTo>
                    <a:pt x="54033" y="86734"/>
                    <a:pt x="54033" y="75773"/>
                    <a:pt x="54033" y="64812"/>
                  </a:cubicBezTo>
                  <a:cubicBezTo>
                    <a:pt x="54033" y="53851"/>
                    <a:pt x="54486" y="42889"/>
                    <a:pt x="54486" y="31837"/>
                  </a:cubicBezTo>
                  <a:cubicBezTo>
                    <a:pt x="54304" y="28137"/>
                    <a:pt x="55725" y="24538"/>
                    <a:pt x="58384" y="21968"/>
                  </a:cubicBezTo>
                  <a:cubicBezTo>
                    <a:pt x="61922" y="19075"/>
                    <a:pt x="65984" y="16897"/>
                    <a:pt x="70348" y="15555"/>
                  </a:cubicBezTo>
                  <a:lnTo>
                    <a:pt x="83127" y="11007"/>
                  </a:lnTo>
                  <a:cubicBezTo>
                    <a:pt x="88112" y="9233"/>
                    <a:pt x="93233" y="7505"/>
                    <a:pt x="98535" y="5822"/>
                  </a:cubicBezTo>
                  <a:cubicBezTo>
                    <a:pt x="103837" y="4139"/>
                    <a:pt x="108868" y="2865"/>
                    <a:pt x="113717" y="1728"/>
                  </a:cubicBezTo>
                  <a:cubicBezTo>
                    <a:pt x="117796" y="702"/>
                    <a:pt x="121975" y="122"/>
                    <a:pt x="126179" y="0"/>
                  </a:cubicBezTo>
                  <a:cubicBezTo>
                    <a:pt x="132569" y="0"/>
                    <a:pt x="136783" y="1774"/>
                    <a:pt x="138777" y="5321"/>
                  </a:cubicBezTo>
                  <a:cubicBezTo>
                    <a:pt x="140915" y="9685"/>
                    <a:pt x="141928" y="14517"/>
                    <a:pt x="141723" y="19375"/>
                  </a:cubicBezTo>
                  <a:cubicBezTo>
                    <a:pt x="141723" y="32474"/>
                    <a:pt x="141723" y="45573"/>
                    <a:pt x="141723" y="58581"/>
                  </a:cubicBezTo>
                  <a:cubicBezTo>
                    <a:pt x="141723" y="71588"/>
                    <a:pt x="141723" y="84642"/>
                    <a:pt x="141723" y="97786"/>
                  </a:cubicBezTo>
                  <a:lnTo>
                    <a:pt x="186542" y="97786"/>
                  </a:lnTo>
                  <a:cubicBezTo>
                    <a:pt x="191084" y="97473"/>
                    <a:pt x="195565" y="98977"/>
                    <a:pt x="199004" y="101970"/>
                  </a:cubicBezTo>
                  <a:cubicBezTo>
                    <a:pt x="202263" y="105569"/>
                    <a:pt x="203902" y="110356"/>
                    <a:pt x="203536" y="115206"/>
                  </a:cubicBezTo>
                  <a:lnTo>
                    <a:pt x="203536" y="157822"/>
                  </a:lnTo>
                  <a:cubicBezTo>
                    <a:pt x="203972" y="163011"/>
                    <a:pt x="202343" y="168162"/>
                    <a:pt x="199004" y="172149"/>
                  </a:cubicBezTo>
                  <a:cubicBezTo>
                    <a:pt x="195641" y="175305"/>
                    <a:pt x="191140" y="176948"/>
                    <a:pt x="186542" y="176697"/>
                  </a:cubicBezTo>
                  <a:lnTo>
                    <a:pt x="141406" y="176697"/>
                  </a:lnTo>
                  <a:lnTo>
                    <a:pt x="141406" y="235824"/>
                  </a:lnTo>
                  <a:cubicBezTo>
                    <a:pt x="141406" y="243010"/>
                    <a:pt x="141406" y="249741"/>
                    <a:pt x="141406" y="255972"/>
                  </a:cubicBezTo>
                  <a:cubicBezTo>
                    <a:pt x="141406" y="262203"/>
                    <a:pt x="141406" y="269025"/>
                    <a:pt x="141406" y="276302"/>
                  </a:cubicBezTo>
                  <a:lnTo>
                    <a:pt x="141406" y="335702"/>
                  </a:lnTo>
                  <a:cubicBezTo>
                    <a:pt x="141448" y="336125"/>
                    <a:pt x="141448" y="336552"/>
                    <a:pt x="141406" y="336975"/>
                  </a:cubicBezTo>
                  <a:cubicBezTo>
                    <a:pt x="141340" y="337382"/>
                    <a:pt x="141340" y="337797"/>
                    <a:pt x="141406" y="338203"/>
                  </a:cubicBezTo>
                  <a:lnTo>
                    <a:pt x="141406" y="379137"/>
                  </a:lnTo>
                  <a:cubicBezTo>
                    <a:pt x="141406" y="392782"/>
                    <a:pt x="144125" y="402788"/>
                    <a:pt x="149518" y="408837"/>
                  </a:cubicBezTo>
                  <a:cubicBezTo>
                    <a:pt x="154910" y="414886"/>
                    <a:pt x="163611" y="417933"/>
                    <a:pt x="175666" y="417933"/>
                  </a:cubicBezTo>
                  <a:cubicBezTo>
                    <a:pt x="179607" y="417723"/>
                    <a:pt x="183412" y="419412"/>
                    <a:pt x="185908" y="422481"/>
                  </a:cubicBezTo>
                  <a:cubicBezTo>
                    <a:pt x="188428" y="425671"/>
                    <a:pt x="189758" y="429645"/>
                    <a:pt x="189669" y="433715"/>
                  </a:cubicBezTo>
                  <a:lnTo>
                    <a:pt x="189669" y="477560"/>
                  </a:lnTo>
                  <a:cubicBezTo>
                    <a:pt x="189957" y="482222"/>
                    <a:pt x="188318" y="486793"/>
                    <a:pt x="185137" y="490204"/>
                  </a:cubicBezTo>
                  <a:cubicBezTo>
                    <a:pt x="181693" y="493297"/>
                    <a:pt x="177148" y="494852"/>
                    <a:pt x="172539" y="494525"/>
                  </a:cubicBezTo>
                  <a:close/>
                </a:path>
              </a:pathLst>
            </a:custGeom>
            <a:solidFill>
              <a:srgbClr val="2E65A7"/>
            </a:solidFill>
            <a:ln w="45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0" name="Forma libre 39">
              <a:extLst>
                <a:ext uri="{FF2B5EF4-FFF2-40B4-BE49-F238E27FC236}">
                  <a16:creationId xmlns:a16="http://schemas.microsoft.com/office/drawing/2014/main" id="{0219642B-CE36-9B44-9882-C8311106508A}"/>
                </a:ext>
              </a:extLst>
            </p:cNvPr>
            <p:cNvSpPr/>
            <p:nvPr/>
          </p:nvSpPr>
          <p:spPr>
            <a:xfrm>
              <a:off x="1241017" y="431580"/>
              <a:ext cx="407859" cy="650391"/>
            </a:xfrm>
            <a:custGeom>
              <a:avLst/>
              <a:gdLst>
                <a:gd name="connsiteX0" fmla="*/ 11259 w 407858"/>
                <a:gd name="connsiteY0" fmla="*/ 8703 h 650391"/>
                <a:gd name="connsiteX1" fmla="*/ 19507 w 407858"/>
                <a:gd name="connsiteY1" fmla="*/ 6338 h 650391"/>
                <a:gd name="connsiteX2" fmla="*/ 27755 w 407858"/>
                <a:gd name="connsiteY2" fmla="*/ 5883 h 650391"/>
                <a:gd name="connsiteX3" fmla="*/ 59205 w 407858"/>
                <a:gd name="connsiteY3" fmla="*/ 5883 h 650391"/>
                <a:gd name="connsiteX4" fmla="*/ 72393 w 407858"/>
                <a:gd name="connsiteY4" fmla="*/ 11205 h 650391"/>
                <a:gd name="connsiteX5" fmla="*/ 77876 w 407858"/>
                <a:gd name="connsiteY5" fmla="*/ 24622 h 650391"/>
                <a:gd name="connsiteX6" fmla="*/ 84402 w 407858"/>
                <a:gd name="connsiteY6" fmla="*/ 62736 h 650391"/>
                <a:gd name="connsiteX7" fmla="*/ 107605 w 407858"/>
                <a:gd name="connsiteY7" fmla="*/ 38994 h 650391"/>
                <a:gd name="connsiteX8" fmla="*/ 134795 w 407858"/>
                <a:gd name="connsiteY8" fmla="*/ 19028 h 650391"/>
                <a:gd name="connsiteX9" fmla="*/ 167786 w 407858"/>
                <a:gd name="connsiteY9" fmla="*/ 5110 h 650391"/>
                <a:gd name="connsiteX10" fmla="*/ 208300 w 407858"/>
                <a:gd name="connsiteY10" fmla="*/ 16 h 650391"/>
                <a:gd name="connsiteX11" fmla="*/ 262274 w 407858"/>
                <a:gd name="connsiteY11" fmla="*/ 7339 h 650391"/>
                <a:gd name="connsiteX12" fmla="*/ 310220 w 407858"/>
                <a:gd name="connsiteY12" fmla="*/ 27942 h 650391"/>
                <a:gd name="connsiteX13" fmla="*/ 350507 w 407858"/>
                <a:gd name="connsiteY13" fmla="*/ 59779 h 650391"/>
                <a:gd name="connsiteX14" fmla="*/ 381505 w 407858"/>
                <a:gd name="connsiteY14" fmla="*/ 101168 h 650391"/>
                <a:gd name="connsiteX15" fmla="*/ 401399 w 407858"/>
                <a:gd name="connsiteY15" fmla="*/ 150106 h 650391"/>
                <a:gd name="connsiteX16" fmla="*/ 401399 w 407858"/>
                <a:gd name="connsiteY16" fmla="*/ 259263 h 650391"/>
                <a:gd name="connsiteX17" fmla="*/ 350507 w 407858"/>
                <a:gd name="connsiteY17" fmla="*/ 350227 h 650391"/>
                <a:gd name="connsiteX18" fmla="*/ 310220 w 407858"/>
                <a:gd name="connsiteY18" fmla="*/ 382064 h 650391"/>
                <a:gd name="connsiteX19" fmla="*/ 262138 w 407858"/>
                <a:gd name="connsiteY19" fmla="*/ 402667 h 650391"/>
                <a:gd name="connsiteX20" fmla="*/ 208300 w 407858"/>
                <a:gd name="connsiteY20" fmla="*/ 410035 h 650391"/>
                <a:gd name="connsiteX21" fmla="*/ 171095 w 407858"/>
                <a:gd name="connsiteY21" fmla="*/ 405487 h 650391"/>
                <a:gd name="connsiteX22" fmla="*/ 139644 w 407858"/>
                <a:gd name="connsiteY22" fmla="*/ 393435 h 650391"/>
                <a:gd name="connsiteX23" fmla="*/ 112861 w 407858"/>
                <a:gd name="connsiteY23" fmla="*/ 375651 h 650391"/>
                <a:gd name="connsiteX24" fmla="*/ 89704 w 407858"/>
                <a:gd name="connsiteY24" fmla="*/ 353911 h 650391"/>
                <a:gd name="connsiteX25" fmla="*/ 89704 w 407858"/>
                <a:gd name="connsiteY25" fmla="*/ 634307 h 650391"/>
                <a:gd name="connsiteX26" fmla="*/ 85172 w 407858"/>
                <a:gd name="connsiteY26" fmla="*/ 647087 h 650391"/>
                <a:gd name="connsiteX27" fmla="*/ 71169 w 407858"/>
                <a:gd name="connsiteY27" fmla="*/ 652408 h 650391"/>
                <a:gd name="connsiteX28" fmla="*/ 19326 w 407858"/>
                <a:gd name="connsiteY28" fmla="*/ 652408 h 650391"/>
                <a:gd name="connsiteX29" fmla="*/ 6410 w 407858"/>
                <a:gd name="connsiteY29" fmla="*/ 647542 h 650391"/>
                <a:gd name="connsiteX30" fmla="*/ 66 w 407858"/>
                <a:gd name="connsiteY30" fmla="*/ 634307 h 650391"/>
                <a:gd name="connsiteX31" fmla="*/ 66 w 407858"/>
                <a:gd name="connsiteY31" fmla="*/ 24304 h 650391"/>
                <a:gd name="connsiteX32" fmla="*/ 11259 w 407858"/>
                <a:gd name="connsiteY32" fmla="*/ 8703 h 650391"/>
                <a:gd name="connsiteX33" fmla="*/ 319691 w 407858"/>
                <a:gd name="connsiteY33" fmla="*/ 204685 h 650391"/>
                <a:gd name="connsiteX34" fmla="*/ 286564 w 407858"/>
                <a:gd name="connsiteY34" fmla="*/ 118633 h 650391"/>
                <a:gd name="connsiteX35" fmla="*/ 249811 w 407858"/>
                <a:gd name="connsiteY35" fmla="*/ 92253 h 650391"/>
                <a:gd name="connsiteX36" fmla="*/ 204041 w 407858"/>
                <a:gd name="connsiteY36" fmla="*/ 82429 h 650391"/>
                <a:gd name="connsiteX37" fmla="*/ 157817 w 407858"/>
                <a:gd name="connsiteY37" fmla="*/ 92117 h 650391"/>
                <a:gd name="connsiteX38" fmla="*/ 120022 w 407858"/>
                <a:gd name="connsiteY38" fmla="*/ 118269 h 650391"/>
                <a:gd name="connsiteX39" fmla="*/ 93873 w 407858"/>
                <a:gd name="connsiteY39" fmla="*/ 156565 h 650391"/>
                <a:gd name="connsiteX40" fmla="*/ 83768 w 407858"/>
                <a:gd name="connsiteY40" fmla="*/ 202774 h 650391"/>
                <a:gd name="connsiteX41" fmla="*/ 83768 w 407858"/>
                <a:gd name="connsiteY41" fmla="*/ 204685 h 650391"/>
                <a:gd name="connsiteX42" fmla="*/ 93284 w 407858"/>
                <a:gd name="connsiteY42" fmla="*/ 252168 h 650391"/>
                <a:gd name="connsiteX43" fmla="*/ 119115 w 407858"/>
                <a:gd name="connsiteY43" fmla="*/ 291555 h 650391"/>
                <a:gd name="connsiteX44" fmla="*/ 157409 w 407858"/>
                <a:gd name="connsiteY44" fmla="*/ 318389 h 650391"/>
                <a:gd name="connsiteX45" fmla="*/ 204222 w 407858"/>
                <a:gd name="connsiteY45" fmla="*/ 328395 h 650391"/>
                <a:gd name="connsiteX46" fmla="*/ 249811 w 407858"/>
                <a:gd name="connsiteY46" fmla="*/ 318389 h 650391"/>
                <a:gd name="connsiteX47" fmla="*/ 286383 w 407858"/>
                <a:gd name="connsiteY47" fmla="*/ 291555 h 650391"/>
                <a:gd name="connsiteX48" fmla="*/ 319691 w 407858"/>
                <a:gd name="connsiteY48" fmla="*/ 204685 h 650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07858" h="650391">
                  <a:moveTo>
                    <a:pt x="11259" y="8703"/>
                  </a:moveTo>
                  <a:cubicBezTo>
                    <a:pt x="13861" y="7461"/>
                    <a:pt x="16648" y="6662"/>
                    <a:pt x="19507" y="6338"/>
                  </a:cubicBezTo>
                  <a:cubicBezTo>
                    <a:pt x="22317" y="6065"/>
                    <a:pt x="25036" y="5883"/>
                    <a:pt x="27755" y="5883"/>
                  </a:cubicBezTo>
                  <a:lnTo>
                    <a:pt x="59205" y="5883"/>
                  </a:lnTo>
                  <a:cubicBezTo>
                    <a:pt x="64204" y="5371"/>
                    <a:pt x="69139" y="7361"/>
                    <a:pt x="72393" y="11205"/>
                  </a:cubicBezTo>
                  <a:cubicBezTo>
                    <a:pt x="75207" y="15205"/>
                    <a:pt x="77079" y="19792"/>
                    <a:pt x="77876" y="24622"/>
                  </a:cubicBezTo>
                  <a:lnTo>
                    <a:pt x="84402" y="62736"/>
                  </a:lnTo>
                  <a:cubicBezTo>
                    <a:pt x="91684" y="54389"/>
                    <a:pt x="99429" y="46462"/>
                    <a:pt x="107605" y="38994"/>
                  </a:cubicBezTo>
                  <a:cubicBezTo>
                    <a:pt x="115929" y="31379"/>
                    <a:pt x="125043" y="24685"/>
                    <a:pt x="134795" y="19028"/>
                  </a:cubicBezTo>
                  <a:cubicBezTo>
                    <a:pt x="145168" y="13019"/>
                    <a:pt x="156253" y="8343"/>
                    <a:pt x="167786" y="5110"/>
                  </a:cubicBezTo>
                  <a:cubicBezTo>
                    <a:pt x="180988" y="1528"/>
                    <a:pt x="194624" y="-187"/>
                    <a:pt x="208300" y="16"/>
                  </a:cubicBezTo>
                  <a:cubicBezTo>
                    <a:pt x="226541" y="-59"/>
                    <a:pt x="244709" y="2405"/>
                    <a:pt x="262274" y="7339"/>
                  </a:cubicBezTo>
                  <a:cubicBezTo>
                    <a:pt x="279068" y="12114"/>
                    <a:pt x="295183" y="19039"/>
                    <a:pt x="310220" y="27942"/>
                  </a:cubicBezTo>
                  <a:cubicBezTo>
                    <a:pt x="324975" y="36745"/>
                    <a:pt x="338521" y="47448"/>
                    <a:pt x="350507" y="59779"/>
                  </a:cubicBezTo>
                  <a:cubicBezTo>
                    <a:pt x="362571" y="72179"/>
                    <a:pt x="372989" y="86090"/>
                    <a:pt x="381505" y="101168"/>
                  </a:cubicBezTo>
                  <a:cubicBezTo>
                    <a:pt x="390187" y="116563"/>
                    <a:pt x="396876" y="133009"/>
                    <a:pt x="401399" y="150106"/>
                  </a:cubicBezTo>
                  <a:cubicBezTo>
                    <a:pt x="410734" y="185889"/>
                    <a:pt x="410734" y="223481"/>
                    <a:pt x="401399" y="259263"/>
                  </a:cubicBezTo>
                  <a:cubicBezTo>
                    <a:pt x="392539" y="293483"/>
                    <a:pt x="375006" y="324819"/>
                    <a:pt x="350507" y="350227"/>
                  </a:cubicBezTo>
                  <a:cubicBezTo>
                    <a:pt x="338552" y="362592"/>
                    <a:pt x="325003" y="373300"/>
                    <a:pt x="310220" y="382064"/>
                  </a:cubicBezTo>
                  <a:cubicBezTo>
                    <a:pt x="295161" y="391019"/>
                    <a:pt x="278996" y="397946"/>
                    <a:pt x="262138" y="402667"/>
                  </a:cubicBezTo>
                  <a:cubicBezTo>
                    <a:pt x="244618" y="407620"/>
                    <a:pt x="226500" y="410099"/>
                    <a:pt x="208300" y="410035"/>
                  </a:cubicBezTo>
                  <a:cubicBezTo>
                    <a:pt x="195757" y="410090"/>
                    <a:pt x="183258" y="408562"/>
                    <a:pt x="171095" y="405487"/>
                  </a:cubicBezTo>
                  <a:cubicBezTo>
                    <a:pt x="160178" y="402717"/>
                    <a:pt x="149623" y="398674"/>
                    <a:pt x="139644" y="393435"/>
                  </a:cubicBezTo>
                  <a:cubicBezTo>
                    <a:pt x="130132" y="388441"/>
                    <a:pt x="121159" y="382483"/>
                    <a:pt x="112861" y="375651"/>
                  </a:cubicBezTo>
                  <a:cubicBezTo>
                    <a:pt x="104691" y="368906"/>
                    <a:pt x="96955" y="361644"/>
                    <a:pt x="89704" y="353911"/>
                  </a:cubicBezTo>
                  <a:lnTo>
                    <a:pt x="89704" y="634307"/>
                  </a:lnTo>
                  <a:cubicBezTo>
                    <a:pt x="89822" y="638982"/>
                    <a:pt x="88209" y="643539"/>
                    <a:pt x="85172" y="647087"/>
                  </a:cubicBezTo>
                  <a:cubicBezTo>
                    <a:pt x="81515" y="650848"/>
                    <a:pt x="76390" y="652800"/>
                    <a:pt x="71169" y="652408"/>
                  </a:cubicBezTo>
                  <a:lnTo>
                    <a:pt x="19326" y="652408"/>
                  </a:lnTo>
                  <a:cubicBezTo>
                    <a:pt x="14604" y="652267"/>
                    <a:pt x="10058" y="650553"/>
                    <a:pt x="6410" y="647542"/>
                  </a:cubicBezTo>
                  <a:cubicBezTo>
                    <a:pt x="2237" y="644463"/>
                    <a:pt x="-143" y="639501"/>
                    <a:pt x="66" y="634307"/>
                  </a:cubicBezTo>
                  <a:lnTo>
                    <a:pt x="66" y="24304"/>
                  </a:lnTo>
                  <a:cubicBezTo>
                    <a:pt x="-623" y="17024"/>
                    <a:pt x="4163" y="10356"/>
                    <a:pt x="11259" y="8703"/>
                  </a:cubicBezTo>
                  <a:close/>
                  <a:moveTo>
                    <a:pt x="319691" y="204685"/>
                  </a:moveTo>
                  <a:cubicBezTo>
                    <a:pt x="319755" y="172854"/>
                    <a:pt x="307936" y="142154"/>
                    <a:pt x="286564" y="118633"/>
                  </a:cubicBezTo>
                  <a:cubicBezTo>
                    <a:pt x="276164" y="107497"/>
                    <a:pt x="263674" y="98532"/>
                    <a:pt x="249811" y="92253"/>
                  </a:cubicBezTo>
                  <a:cubicBezTo>
                    <a:pt x="235455" y="85654"/>
                    <a:pt x="219829" y="82301"/>
                    <a:pt x="204041" y="82429"/>
                  </a:cubicBezTo>
                  <a:cubicBezTo>
                    <a:pt x="188120" y="82331"/>
                    <a:pt x="172364" y="85634"/>
                    <a:pt x="157817" y="92117"/>
                  </a:cubicBezTo>
                  <a:cubicBezTo>
                    <a:pt x="143732" y="98443"/>
                    <a:pt x="130921" y="107307"/>
                    <a:pt x="120022" y="118269"/>
                  </a:cubicBezTo>
                  <a:cubicBezTo>
                    <a:pt x="109068" y="129340"/>
                    <a:pt x="100209" y="142316"/>
                    <a:pt x="93873" y="156565"/>
                  </a:cubicBezTo>
                  <a:cubicBezTo>
                    <a:pt x="87361" y="171102"/>
                    <a:pt x="83922" y="186836"/>
                    <a:pt x="83768" y="202774"/>
                  </a:cubicBezTo>
                  <a:lnTo>
                    <a:pt x="83768" y="204685"/>
                  </a:lnTo>
                  <a:cubicBezTo>
                    <a:pt x="83690" y="220997"/>
                    <a:pt x="86931" y="237154"/>
                    <a:pt x="93284" y="252168"/>
                  </a:cubicBezTo>
                  <a:cubicBezTo>
                    <a:pt x="99352" y="266809"/>
                    <a:pt x="108117" y="280172"/>
                    <a:pt x="119115" y="291555"/>
                  </a:cubicBezTo>
                  <a:cubicBezTo>
                    <a:pt x="130073" y="302850"/>
                    <a:pt x="143070" y="311955"/>
                    <a:pt x="157409" y="318389"/>
                  </a:cubicBezTo>
                  <a:cubicBezTo>
                    <a:pt x="172105" y="325087"/>
                    <a:pt x="188080" y="328501"/>
                    <a:pt x="204222" y="328395"/>
                  </a:cubicBezTo>
                  <a:cubicBezTo>
                    <a:pt x="219970" y="328504"/>
                    <a:pt x="235545" y="325085"/>
                    <a:pt x="249811" y="318389"/>
                  </a:cubicBezTo>
                  <a:cubicBezTo>
                    <a:pt x="263638" y="311938"/>
                    <a:pt x="276064" y="302820"/>
                    <a:pt x="286383" y="291555"/>
                  </a:cubicBezTo>
                  <a:cubicBezTo>
                    <a:pt x="307890" y="267780"/>
                    <a:pt x="319768" y="236797"/>
                    <a:pt x="319691" y="204685"/>
                  </a:cubicBezTo>
                  <a:close/>
                </a:path>
              </a:pathLst>
            </a:custGeom>
            <a:solidFill>
              <a:srgbClr val="D5E1ED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1" name="Forma libre 40">
              <a:extLst>
                <a:ext uri="{FF2B5EF4-FFF2-40B4-BE49-F238E27FC236}">
                  <a16:creationId xmlns:a16="http://schemas.microsoft.com/office/drawing/2014/main" id="{D98DA8A8-1A47-B64E-809E-44D3CDB87E96}"/>
                </a:ext>
              </a:extLst>
            </p:cNvPr>
            <p:cNvSpPr/>
            <p:nvPr/>
          </p:nvSpPr>
          <p:spPr>
            <a:xfrm>
              <a:off x="432253" y="870132"/>
              <a:ext cx="63445" cy="77319"/>
            </a:xfrm>
            <a:custGeom>
              <a:avLst/>
              <a:gdLst>
                <a:gd name="connsiteX0" fmla="*/ 0 w 63444"/>
                <a:gd name="connsiteY0" fmla="*/ 78411 h 77319"/>
                <a:gd name="connsiteX1" fmla="*/ 0 w 63444"/>
                <a:gd name="connsiteY1" fmla="*/ 0 h 77319"/>
                <a:gd name="connsiteX2" fmla="*/ 26692 w 63444"/>
                <a:gd name="connsiteY2" fmla="*/ 0 h 77319"/>
                <a:gd name="connsiteX3" fmla="*/ 33082 w 63444"/>
                <a:gd name="connsiteY3" fmla="*/ 0 h 77319"/>
                <a:gd name="connsiteX4" fmla="*/ 39290 w 63444"/>
                <a:gd name="connsiteY4" fmla="*/ 728 h 77319"/>
                <a:gd name="connsiteX5" fmla="*/ 45182 w 63444"/>
                <a:gd name="connsiteY5" fmla="*/ 2547 h 77319"/>
                <a:gd name="connsiteX6" fmla="*/ 50801 w 63444"/>
                <a:gd name="connsiteY6" fmla="*/ 5685 h 77319"/>
                <a:gd name="connsiteX7" fmla="*/ 57055 w 63444"/>
                <a:gd name="connsiteY7" fmla="*/ 12780 h 77319"/>
                <a:gd name="connsiteX8" fmla="*/ 60998 w 63444"/>
                <a:gd name="connsiteY8" fmla="*/ 21422 h 77319"/>
                <a:gd name="connsiteX9" fmla="*/ 63082 w 63444"/>
                <a:gd name="connsiteY9" fmla="*/ 30518 h 77319"/>
                <a:gd name="connsiteX10" fmla="*/ 63671 w 63444"/>
                <a:gd name="connsiteY10" fmla="*/ 39069 h 77319"/>
                <a:gd name="connsiteX11" fmla="*/ 63173 w 63444"/>
                <a:gd name="connsiteY11" fmla="*/ 47028 h 77319"/>
                <a:gd name="connsiteX12" fmla="*/ 61587 w 63444"/>
                <a:gd name="connsiteY12" fmla="*/ 54942 h 77319"/>
                <a:gd name="connsiteX13" fmla="*/ 58686 w 63444"/>
                <a:gd name="connsiteY13" fmla="*/ 62356 h 77319"/>
                <a:gd name="connsiteX14" fmla="*/ 54155 w 63444"/>
                <a:gd name="connsiteY14" fmla="*/ 68860 h 77319"/>
                <a:gd name="connsiteX15" fmla="*/ 48218 w 63444"/>
                <a:gd name="connsiteY15" fmla="*/ 73726 h 77319"/>
                <a:gd name="connsiteX16" fmla="*/ 41511 w 63444"/>
                <a:gd name="connsiteY16" fmla="*/ 76637 h 77319"/>
                <a:gd name="connsiteX17" fmla="*/ 34170 w 63444"/>
                <a:gd name="connsiteY17" fmla="*/ 78047 h 77319"/>
                <a:gd name="connsiteX18" fmla="*/ 26466 w 63444"/>
                <a:gd name="connsiteY18" fmla="*/ 78411 h 77319"/>
                <a:gd name="connsiteX19" fmla="*/ 7206 w 63444"/>
                <a:gd name="connsiteY19" fmla="*/ 72089 h 77319"/>
                <a:gd name="connsiteX20" fmla="*/ 24879 w 63444"/>
                <a:gd name="connsiteY20" fmla="*/ 72089 h 77319"/>
                <a:gd name="connsiteX21" fmla="*/ 34260 w 63444"/>
                <a:gd name="connsiteY21" fmla="*/ 71498 h 77319"/>
                <a:gd name="connsiteX22" fmla="*/ 43324 w 63444"/>
                <a:gd name="connsiteY22" fmla="*/ 68496 h 77319"/>
                <a:gd name="connsiteX23" fmla="*/ 49713 w 63444"/>
                <a:gd name="connsiteY23" fmla="*/ 63174 h 77319"/>
                <a:gd name="connsiteX24" fmla="*/ 53701 w 63444"/>
                <a:gd name="connsiteY24" fmla="*/ 55806 h 77319"/>
                <a:gd name="connsiteX25" fmla="*/ 55741 w 63444"/>
                <a:gd name="connsiteY25" fmla="*/ 47483 h 77319"/>
                <a:gd name="connsiteX26" fmla="*/ 56330 w 63444"/>
                <a:gd name="connsiteY26" fmla="*/ 39114 h 77319"/>
                <a:gd name="connsiteX27" fmla="*/ 55786 w 63444"/>
                <a:gd name="connsiteY27" fmla="*/ 30427 h 77319"/>
                <a:gd name="connsiteX28" fmla="*/ 53747 w 63444"/>
                <a:gd name="connsiteY28" fmla="*/ 22059 h 77319"/>
                <a:gd name="connsiteX29" fmla="*/ 49623 w 63444"/>
                <a:gd name="connsiteY29" fmla="*/ 14736 h 77319"/>
                <a:gd name="connsiteX30" fmla="*/ 42871 w 63444"/>
                <a:gd name="connsiteY30" fmla="*/ 9278 h 77319"/>
                <a:gd name="connsiteX31" fmla="*/ 34623 w 63444"/>
                <a:gd name="connsiteY31" fmla="*/ 6868 h 77319"/>
                <a:gd name="connsiteX32" fmla="*/ 24970 w 63444"/>
                <a:gd name="connsiteY32" fmla="*/ 6322 h 77319"/>
                <a:gd name="connsiteX33" fmla="*/ 7206 w 63444"/>
                <a:gd name="connsiteY33" fmla="*/ 6322 h 7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3444" h="77319">
                  <a:moveTo>
                    <a:pt x="0" y="78411"/>
                  </a:moveTo>
                  <a:lnTo>
                    <a:pt x="0" y="0"/>
                  </a:lnTo>
                  <a:lnTo>
                    <a:pt x="26692" y="0"/>
                  </a:lnTo>
                  <a:cubicBezTo>
                    <a:pt x="28867" y="0"/>
                    <a:pt x="30997" y="0"/>
                    <a:pt x="33082" y="0"/>
                  </a:cubicBezTo>
                  <a:cubicBezTo>
                    <a:pt x="35165" y="105"/>
                    <a:pt x="37239" y="346"/>
                    <a:pt x="39290" y="728"/>
                  </a:cubicBezTo>
                  <a:cubicBezTo>
                    <a:pt x="41312" y="1128"/>
                    <a:pt x="43287" y="1737"/>
                    <a:pt x="45182" y="2547"/>
                  </a:cubicBezTo>
                  <a:cubicBezTo>
                    <a:pt x="47170" y="3370"/>
                    <a:pt x="49056" y="4421"/>
                    <a:pt x="50801" y="5685"/>
                  </a:cubicBezTo>
                  <a:cubicBezTo>
                    <a:pt x="53326" y="7618"/>
                    <a:pt x="55451" y="10029"/>
                    <a:pt x="57055" y="12780"/>
                  </a:cubicBezTo>
                  <a:cubicBezTo>
                    <a:pt x="58724" y="15487"/>
                    <a:pt x="60048" y="18388"/>
                    <a:pt x="60998" y="21422"/>
                  </a:cubicBezTo>
                  <a:cubicBezTo>
                    <a:pt x="61978" y="24383"/>
                    <a:pt x="62676" y="27426"/>
                    <a:pt x="63082" y="30518"/>
                  </a:cubicBezTo>
                  <a:cubicBezTo>
                    <a:pt x="63466" y="33352"/>
                    <a:pt x="63663" y="36208"/>
                    <a:pt x="63671" y="39069"/>
                  </a:cubicBezTo>
                  <a:cubicBezTo>
                    <a:pt x="63683" y="41730"/>
                    <a:pt x="63517" y="44390"/>
                    <a:pt x="63173" y="47028"/>
                  </a:cubicBezTo>
                  <a:cubicBezTo>
                    <a:pt x="62857" y="49703"/>
                    <a:pt x="62327" y="52350"/>
                    <a:pt x="61587" y="54942"/>
                  </a:cubicBezTo>
                  <a:cubicBezTo>
                    <a:pt x="60877" y="57507"/>
                    <a:pt x="59905" y="59991"/>
                    <a:pt x="58686" y="62356"/>
                  </a:cubicBezTo>
                  <a:cubicBezTo>
                    <a:pt x="57495" y="64730"/>
                    <a:pt x="55968" y="66922"/>
                    <a:pt x="54155" y="68860"/>
                  </a:cubicBezTo>
                  <a:cubicBezTo>
                    <a:pt x="52440" y="70783"/>
                    <a:pt x="50437" y="72425"/>
                    <a:pt x="48218" y="73726"/>
                  </a:cubicBezTo>
                  <a:cubicBezTo>
                    <a:pt x="46117" y="74981"/>
                    <a:pt x="43863" y="75959"/>
                    <a:pt x="41511" y="76637"/>
                  </a:cubicBezTo>
                  <a:cubicBezTo>
                    <a:pt x="39109" y="77319"/>
                    <a:pt x="36653" y="77792"/>
                    <a:pt x="34170" y="78047"/>
                  </a:cubicBezTo>
                  <a:cubicBezTo>
                    <a:pt x="31610" y="78306"/>
                    <a:pt x="29038" y="78429"/>
                    <a:pt x="26466" y="78411"/>
                  </a:cubicBezTo>
                  <a:close/>
                  <a:moveTo>
                    <a:pt x="7206" y="72089"/>
                  </a:moveTo>
                  <a:lnTo>
                    <a:pt x="24879" y="72089"/>
                  </a:lnTo>
                  <a:cubicBezTo>
                    <a:pt x="28016" y="72112"/>
                    <a:pt x="31151" y="71911"/>
                    <a:pt x="34260" y="71498"/>
                  </a:cubicBezTo>
                  <a:cubicBezTo>
                    <a:pt x="37442" y="71079"/>
                    <a:pt x="40517" y="70060"/>
                    <a:pt x="43324" y="68496"/>
                  </a:cubicBezTo>
                  <a:cubicBezTo>
                    <a:pt x="45852" y="67268"/>
                    <a:pt x="48045" y="65444"/>
                    <a:pt x="49713" y="63174"/>
                  </a:cubicBezTo>
                  <a:cubicBezTo>
                    <a:pt x="51393" y="60928"/>
                    <a:pt x="52737" y="58444"/>
                    <a:pt x="53701" y="55806"/>
                  </a:cubicBezTo>
                  <a:cubicBezTo>
                    <a:pt x="54667" y="53109"/>
                    <a:pt x="55351" y="50321"/>
                    <a:pt x="55741" y="47483"/>
                  </a:cubicBezTo>
                  <a:cubicBezTo>
                    <a:pt x="56132" y="44709"/>
                    <a:pt x="56329" y="41916"/>
                    <a:pt x="56330" y="39114"/>
                  </a:cubicBezTo>
                  <a:cubicBezTo>
                    <a:pt x="56325" y="36208"/>
                    <a:pt x="56144" y="33311"/>
                    <a:pt x="55786" y="30427"/>
                  </a:cubicBezTo>
                  <a:cubicBezTo>
                    <a:pt x="55439" y="27567"/>
                    <a:pt x="54754" y="24756"/>
                    <a:pt x="53747" y="22059"/>
                  </a:cubicBezTo>
                  <a:cubicBezTo>
                    <a:pt x="52724" y="19434"/>
                    <a:pt x="51335" y="16969"/>
                    <a:pt x="49623" y="14736"/>
                  </a:cubicBezTo>
                  <a:cubicBezTo>
                    <a:pt x="47782" y="12457"/>
                    <a:pt x="45480" y="10597"/>
                    <a:pt x="42871" y="9278"/>
                  </a:cubicBezTo>
                  <a:cubicBezTo>
                    <a:pt x="40303" y="7946"/>
                    <a:pt x="37502" y="7127"/>
                    <a:pt x="34623" y="6868"/>
                  </a:cubicBezTo>
                  <a:cubicBezTo>
                    <a:pt x="31418" y="6504"/>
                    <a:pt x="28195" y="6322"/>
                    <a:pt x="24970" y="6322"/>
                  </a:cubicBezTo>
                  <a:lnTo>
                    <a:pt x="7206" y="6322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2" name="Forma libre 41">
              <a:extLst>
                <a:ext uri="{FF2B5EF4-FFF2-40B4-BE49-F238E27FC236}">
                  <a16:creationId xmlns:a16="http://schemas.microsoft.com/office/drawing/2014/main" id="{353358F0-3044-0F4F-8CD7-FA9572F7E372}"/>
                </a:ext>
              </a:extLst>
            </p:cNvPr>
            <p:cNvSpPr/>
            <p:nvPr/>
          </p:nvSpPr>
          <p:spPr>
            <a:xfrm>
              <a:off x="511967" y="870132"/>
              <a:ext cx="4532" cy="77319"/>
            </a:xfrm>
            <a:custGeom>
              <a:avLst/>
              <a:gdLst>
                <a:gd name="connsiteX0" fmla="*/ 0 w 4531"/>
                <a:gd name="connsiteY0" fmla="*/ 9688 h 77319"/>
                <a:gd name="connsiteX1" fmla="*/ 0 w 4531"/>
                <a:gd name="connsiteY1" fmla="*/ 0 h 77319"/>
                <a:gd name="connsiteX2" fmla="*/ 7206 w 4531"/>
                <a:gd name="connsiteY2" fmla="*/ 0 h 77319"/>
                <a:gd name="connsiteX3" fmla="*/ 7206 w 4531"/>
                <a:gd name="connsiteY3" fmla="*/ 9688 h 77319"/>
                <a:gd name="connsiteX4" fmla="*/ 0 w 4531"/>
                <a:gd name="connsiteY4" fmla="*/ 78411 h 77319"/>
                <a:gd name="connsiteX5" fmla="*/ 0 w 4531"/>
                <a:gd name="connsiteY5" fmla="*/ 22013 h 77319"/>
                <a:gd name="connsiteX6" fmla="*/ 6480 w 4531"/>
                <a:gd name="connsiteY6" fmla="*/ 22013 h 77319"/>
                <a:gd name="connsiteX7" fmla="*/ 6480 w 4531"/>
                <a:gd name="connsiteY7" fmla="*/ 78411 h 7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31" h="77319">
                  <a:moveTo>
                    <a:pt x="0" y="9688"/>
                  </a:moveTo>
                  <a:lnTo>
                    <a:pt x="0" y="0"/>
                  </a:lnTo>
                  <a:lnTo>
                    <a:pt x="7206" y="0"/>
                  </a:lnTo>
                  <a:lnTo>
                    <a:pt x="7206" y="9688"/>
                  </a:lnTo>
                  <a:close/>
                  <a:moveTo>
                    <a:pt x="0" y="78411"/>
                  </a:moveTo>
                  <a:lnTo>
                    <a:pt x="0" y="22013"/>
                  </a:lnTo>
                  <a:lnTo>
                    <a:pt x="6480" y="22013"/>
                  </a:lnTo>
                  <a:lnTo>
                    <a:pt x="6480" y="78411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3" name="Forma libre 42">
              <a:extLst>
                <a:ext uri="{FF2B5EF4-FFF2-40B4-BE49-F238E27FC236}">
                  <a16:creationId xmlns:a16="http://schemas.microsoft.com/office/drawing/2014/main" id="{E19617DD-2DBD-9F44-8BF3-1294EC42AFCD}"/>
                </a:ext>
              </a:extLst>
            </p:cNvPr>
            <p:cNvSpPr/>
            <p:nvPr/>
          </p:nvSpPr>
          <p:spPr>
            <a:xfrm>
              <a:off x="535077" y="890499"/>
              <a:ext cx="49849" cy="77319"/>
            </a:xfrm>
            <a:custGeom>
              <a:avLst/>
              <a:gdLst>
                <a:gd name="connsiteX0" fmla="*/ 45093 w 49849"/>
                <a:gd name="connsiteY0" fmla="*/ 1647 h 77319"/>
                <a:gd name="connsiteX1" fmla="*/ 51618 w 49849"/>
                <a:gd name="connsiteY1" fmla="*/ 1647 h 77319"/>
                <a:gd name="connsiteX2" fmla="*/ 51618 w 49849"/>
                <a:gd name="connsiteY2" fmla="*/ 52632 h 77319"/>
                <a:gd name="connsiteX3" fmla="*/ 50485 w 49849"/>
                <a:gd name="connsiteY3" fmla="*/ 63457 h 77319"/>
                <a:gd name="connsiteX4" fmla="*/ 46407 w 49849"/>
                <a:gd name="connsiteY4" fmla="*/ 72553 h 77319"/>
                <a:gd name="connsiteX5" fmla="*/ 38386 w 49849"/>
                <a:gd name="connsiteY5" fmla="*/ 78829 h 77319"/>
                <a:gd name="connsiteX6" fmla="*/ 25244 w 49849"/>
                <a:gd name="connsiteY6" fmla="*/ 81149 h 77319"/>
                <a:gd name="connsiteX7" fmla="*/ 14594 w 49849"/>
                <a:gd name="connsiteY7" fmla="*/ 79557 h 77319"/>
                <a:gd name="connsiteX8" fmla="*/ 7343 w 49849"/>
                <a:gd name="connsiteY8" fmla="*/ 75600 h 77319"/>
                <a:gd name="connsiteX9" fmla="*/ 3038 w 49849"/>
                <a:gd name="connsiteY9" fmla="*/ 70324 h 77319"/>
                <a:gd name="connsiteX10" fmla="*/ 1497 w 49849"/>
                <a:gd name="connsiteY10" fmla="*/ 64912 h 77319"/>
                <a:gd name="connsiteX11" fmla="*/ 8612 w 49849"/>
                <a:gd name="connsiteY11" fmla="*/ 64912 h 77319"/>
                <a:gd name="connsiteX12" fmla="*/ 10968 w 49849"/>
                <a:gd name="connsiteY12" fmla="*/ 70097 h 77319"/>
                <a:gd name="connsiteX13" fmla="*/ 14866 w 49849"/>
                <a:gd name="connsiteY13" fmla="*/ 73281 h 77319"/>
                <a:gd name="connsiteX14" fmla="*/ 19805 w 49849"/>
                <a:gd name="connsiteY14" fmla="*/ 74827 h 77319"/>
                <a:gd name="connsiteX15" fmla="*/ 25425 w 49849"/>
                <a:gd name="connsiteY15" fmla="*/ 75282 h 77319"/>
                <a:gd name="connsiteX16" fmla="*/ 35803 w 49849"/>
                <a:gd name="connsiteY16" fmla="*/ 73235 h 77319"/>
                <a:gd name="connsiteX17" fmla="*/ 41875 w 49849"/>
                <a:gd name="connsiteY17" fmla="*/ 67232 h 77319"/>
                <a:gd name="connsiteX18" fmla="*/ 44549 w 49849"/>
                <a:gd name="connsiteY18" fmla="*/ 58817 h 77319"/>
                <a:gd name="connsiteX19" fmla="*/ 45002 w 49849"/>
                <a:gd name="connsiteY19" fmla="*/ 49266 h 77319"/>
                <a:gd name="connsiteX20" fmla="*/ 36392 w 49849"/>
                <a:gd name="connsiteY20" fmla="*/ 57135 h 77319"/>
                <a:gd name="connsiteX21" fmla="*/ 24926 w 49849"/>
                <a:gd name="connsiteY21" fmla="*/ 59818 h 77319"/>
                <a:gd name="connsiteX22" fmla="*/ 13823 w 49849"/>
                <a:gd name="connsiteY22" fmla="*/ 57362 h 77319"/>
                <a:gd name="connsiteX23" fmla="*/ 6074 w 49849"/>
                <a:gd name="connsiteY23" fmla="*/ 50494 h 77319"/>
                <a:gd name="connsiteX24" fmla="*/ 1542 w 49849"/>
                <a:gd name="connsiteY24" fmla="*/ 40989 h 77319"/>
                <a:gd name="connsiteX25" fmla="*/ 2 w 49849"/>
                <a:gd name="connsiteY25" fmla="*/ 29663 h 77319"/>
                <a:gd name="connsiteX26" fmla="*/ 1406 w 49849"/>
                <a:gd name="connsiteY26" fmla="*/ 17975 h 77319"/>
                <a:gd name="connsiteX27" fmla="*/ 5938 w 49849"/>
                <a:gd name="connsiteY27" fmla="*/ 8560 h 77319"/>
                <a:gd name="connsiteX28" fmla="*/ 13778 w 49849"/>
                <a:gd name="connsiteY28" fmla="*/ 2283 h 77319"/>
                <a:gd name="connsiteX29" fmla="*/ 25379 w 49849"/>
                <a:gd name="connsiteY29" fmla="*/ 9 h 77319"/>
                <a:gd name="connsiteX30" fmla="*/ 30954 w 49849"/>
                <a:gd name="connsiteY30" fmla="*/ 782 h 77319"/>
                <a:gd name="connsiteX31" fmla="*/ 36437 w 49849"/>
                <a:gd name="connsiteY31" fmla="*/ 2966 h 77319"/>
                <a:gd name="connsiteX32" fmla="*/ 41286 w 49849"/>
                <a:gd name="connsiteY32" fmla="*/ 6559 h 77319"/>
                <a:gd name="connsiteX33" fmla="*/ 44957 w 49849"/>
                <a:gd name="connsiteY33" fmla="*/ 11471 h 77319"/>
                <a:gd name="connsiteX34" fmla="*/ 44957 w 49849"/>
                <a:gd name="connsiteY34" fmla="*/ 11471 h 77319"/>
                <a:gd name="connsiteX35" fmla="*/ 45093 w 49849"/>
                <a:gd name="connsiteY35" fmla="*/ 30073 h 77319"/>
                <a:gd name="connsiteX36" fmla="*/ 43869 w 49849"/>
                <a:gd name="connsiteY36" fmla="*/ 20522 h 77319"/>
                <a:gd name="connsiteX37" fmla="*/ 40244 w 49849"/>
                <a:gd name="connsiteY37" fmla="*/ 12926 h 77319"/>
                <a:gd name="connsiteX38" fmla="*/ 34262 w 49849"/>
                <a:gd name="connsiteY38" fmla="*/ 7832 h 77319"/>
                <a:gd name="connsiteX39" fmla="*/ 26105 w 49849"/>
                <a:gd name="connsiteY39" fmla="*/ 6013 h 77319"/>
                <a:gd name="connsiteX40" fmla="*/ 18536 w 49849"/>
                <a:gd name="connsiteY40" fmla="*/ 7468 h 77319"/>
                <a:gd name="connsiteX41" fmla="*/ 12419 w 49849"/>
                <a:gd name="connsiteY41" fmla="*/ 11744 h 77319"/>
                <a:gd name="connsiteX42" fmla="*/ 8612 w 49849"/>
                <a:gd name="connsiteY42" fmla="*/ 18657 h 77319"/>
                <a:gd name="connsiteX43" fmla="*/ 7116 w 49849"/>
                <a:gd name="connsiteY43" fmla="*/ 28072 h 77319"/>
                <a:gd name="connsiteX44" fmla="*/ 7977 w 49849"/>
                <a:gd name="connsiteY44" fmla="*/ 38032 h 77319"/>
                <a:gd name="connsiteX45" fmla="*/ 11467 w 49849"/>
                <a:gd name="connsiteY45" fmla="*/ 46128 h 77319"/>
                <a:gd name="connsiteX46" fmla="*/ 17540 w 49849"/>
                <a:gd name="connsiteY46" fmla="*/ 51631 h 77319"/>
                <a:gd name="connsiteX47" fmla="*/ 26331 w 49849"/>
                <a:gd name="connsiteY47" fmla="*/ 53678 h 77319"/>
                <a:gd name="connsiteX48" fmla="*/ 34307 w 49849"/>
                <a:gd name="connsiteY48" fmla="*/ 51768 h 77319"/>
                <a:gd name="connsiteX49" fmla="*/ 40289 w 49849"/>
                <a:gd name="connsiteY49" fmla="*/ 46628 h 77319"/>
                <a:gd name="connsiteX50" fmla="*/ 44050 w 49849"/>
                <a:gd name="connsiteY50" fmla="*/ 39124 h 77319"/>
                <a:gd name="connsiteX51" fmla="*/ 45093 w 49849"/>
                <a:gd name="connsiteY51" fmla="*/ 30073 h 7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9849" h="77319">
                  <a:moveTo>
                    <a:pt x="45093" y="1647"/>
                  </a:moveTo>
                  <a:lnTo>
                    <a:pt x="51618" y="1647"/>
                  </a:lnTo>
                  <a:lnTo>
                    <a:pt x="51618" y="52632"/>
                  </a:lnTo>
                  <a:cubicBezTo>
                    <a:pt x="51640" y="56270"/>
                    <a:pt x="51259" y="59900"/>
                    <a:pt x="50485" y="63457"/>
                  </a:cubicBezTo>
                  <a:cubicBezTo>
                    <a:pt x="49784" y="66745"/>
                    <a:pt x="48394" y="69847"/>
                    <a:pt x="46407" y="72553"/>
                  </a:cubicBezTo>
                  <a:cubicBezTo>
                    <a:pt x="44291" y="75277"/>
                    <a:pt x="41535" y="77433"/>
                    <a:pt x="38386" y="78829"/>
                  </a:cubicBezTo>
                  <a:cubicBezTo>
                    <a:pt x="34216" y="80517"/>
                    <a:pt x="29738" y="81308"/>
                    <a:pt x="25244" y="81149"/>
                  </a:cubicBezTo>
                  <a:cubicBezTo>
                    <a:pt x="21629" y="81240"/>
                    <a:pt x="18025" y="80703"/>
                    <a:pt x="14594" y="79557"/>
                  </a:cubicBezTo>
                  <a:cubicBezTo>
                    <a:pt x="11956" y="78693"/>
                    <a:pt x="9498" y="77356"/>
                    <a:pt x="7343" y="75600"/>
                  </a:cubicBezTo>
                  <a:cubicBezTo>
                    <a:pt x="5573" y="74145"/>
                    <a:pt x="4110" y="72353"/>
                    <a:pt x="3038" y="70324"/>
                  </a:cubicBezTo>
                  <a:cubicBezTo>
                    <a:pt x="2140" y="68655"/>
                    <a:pt x="1614" y="66809"/>
                    <a:pt x="1497" y="64912"/>
                  </a:cubicBezTo>
                  <a:lnTo>
                    <a:pt x="8612" y="64912"/>
                  </a:lnTo>
                  <a:cubicBezTo>
                    <a:pt x="9008" y="66795"/>
                    <a:pt x="9812" y="68564"/>
                    <a:pt x="10968" y="70097"/>
                  </a:cubicBezTo>
                  <a:cubicBezTo>
                    <a:pt x="12028" y="71425"/>
                    <a:pt x="13356" y="72507"/>
                    <a:pt x="14866" y="73281"/>
                  </a:cubicBezTo>
                  <a:cubicBezTo>
                    <a:pt x="16422" y="74054"/>
                    <a:pt x="18088" y="74572"/>
                    <a:pt x="19805" y="74827"/>
                  </a:cubicBezTo>
                  <a:cubicBezTo>
                    <a:pt x="21662" y="75145"/>
                    <a:pt x="23542" y="75295"/>
                    <a:pt x="25425" y="75282"/>
                  </a:cubicBezTo>
                  <a:cubicBezTo>
                    <a:pt x="28999" y="75464"/>
                    <a:pt x="32563" y="74759"/>
                    <a:pt x="35803" y="73235"/>
                  </a:cubicBezTo>
                  <a:cubicBezTo>
                    <a:pt x="38339" y="71834"/>
                    <a:pt x="40440" y="69756"/>
                    <a:pt x="41875" y="67232"/>
                  </a:cubicBezTo>
                  <a:cubicBezTo>
                    <a:pt x="43283" y="64621"/>
                    <a:pt x="44190" y="61765"/>
                    <a:pt x="44549" y="58817"/>
                  </a:cubicBezTo>
                  <a:cubicBezTo>
                    <a:pt x="44929" y="55647"/>
                    <a:pt x="45080" y="52454"/>
                    <a:pt x="45002" y="49266"/>
                  </a:cubicBezTo>
                  <a:cubicBezTo>
                    <a:pt x="42972" y="52686"/>
                    <a:pt x="39975" y="55424"/>
                    <a:pt x="36392" y="57135"/>
                  </a:cubicBezTo>
                  <a:cubicBezTo>
                    <a:pt x="32823" y="58895"/>
                    <a:pt x="28902" y="59813"/>
                    <a:pt x="24926" y="59818"/>
                  </a:cubicBezTo>
                  <a:cubicBezTo>
                    <a:pt x="21082" y="59914"/>
                    <a:pt x="17272" y="59072"/>
                    <a:pt x="13823" y="57362"/>
                  </a:cubicBezTo>
                  <a:cubicBezTo>
                    <a:pt x="10753" y="55693"/>
                    <a:pt x="8103" y="53346"/>
                    <a:pt x="6074" y="50494"/>
                  </a:cubicBezTo>
                  <a:cubicBezTo>
                    <a:pt x="3978" y="47642"/>
                    <a:pt x="2440" y="44418"/>
                    <a:pt x="1542" y="40989"/>
                  </a:cubicBezTo>
                  <a:cubicBezTo>
                    <a:pt x="504" y="37304"/>
                    <a:pt x="-15" y="33493"/>
                    <a:pt x="2" y="29663"/>
                  </a:cubicBezTo>
                  <a:cubicBezTo>
                    <a:pt x="-31" y="25725"/>
                    <a:pt x="441" y="21795"/>
                    <a:pt x="1406" y="17975"/>
                  </a:cubicBezTo>
                  <a:cubicBezTo>
                    <a:pt x="2264" y="14559"/>
                    <a:pt x="3806" y="11357"/>
                    <a:pt x="5938" y="8560"/>
                  </a:cubicBezTo>
                  <a:cubicBezTo>
                    <a:pt x="8031" y="5886"/>
                    <a:pt x="10715" y="3739"/>
                    <a:pt x="13778" y="2283"/>
                  </a:cubicBezTo>
                  <a:cubicBezTo>
                    <a:pt x="17432" y="682"/>
                    <a:pt x="21393" y="-95"/>
                    <a:pt x="25379" y="9"/>
                  </a:cubicBezTo>
                  <a:cubicBezTo>
                    <a:pt x="27263" y="27"/>
                    <a:pt x="29136" y="287"/>
                    <a:pt x="30954" y="782"/>
                  </a:cubicBezTo>
                  <a:cubicBezTo>
                    <a:pt x="32856" y="1306"/>
                    <a:pt x="34695" y="2038"/>
                    <a:pt x="36437" y="2966"/>
                  </a:cubicBezTo>
                  <a:cubicBezTo>
                    <a:pt x="38220" y="3921"/>
                    <a:pt x="39853" y="5131"/>
                    <a:pt x="41286" y="6559"/>
                  </a:cubicBezTo>
                  <a:cubicBezTo>
                    <a:pt x="42762" y="7991"/>
                    <a:pt x="44002" y="9647"/>
                    <a:pt x="44957" y="11471"/>
                  </a:cubicBezTo>
                  <a:lnTo>
                    <a:pt x="44957" y="11471"/>
                  </a:lnTo>
                  <a:close/>
                  <a:moveTo>
                    <a:pt x="45093" y="30073"/>
                  </a:moveTo>
                  <a:cubicBezTo>
                    <a:pt x="45117" y="26848"/>
                    <a:pt x="44705" y="23637"/>
                    <a:pt x="43869" y="20522"/>
                  </a:cubicBezTo>
                  <a:cubicBezTo>
                    <a:pt x="43116" y="17797"/>
                    <a:pt x="41889" y="15223"/>
                    <a:pt x="40244" y="12926"/>
                  </a:cubicBezTo>
                  <a:cubicBezTo>
                    <a:pt x="38661" y="10793"/>
                    <a:pt x="36615" y="9051"/>
                    <a:pt x="34262" y="7832"/>
                  </a:cubicBezTo>
                  <a:cubicBezTo>
                    <a:pt x="31726" y="6581"/>
                    <a:pt x="28929" y="5958"/>
                    <a:pt x="26105" y="6013"/>
                  </a:cubicBezTo>
                  <a:cubicBezTo>
                    <a:pt x="23509" y="5972"/>
                    <a:pt x="20933" y="6468"/>
                    <a:pt x="18536" y="7468"/>
                  </a:cubicBezTo>
                  <a:cubicBezTo>
                    <a:pt x="16213" y="8433"/>
                    <a:pt x="14125" y="9893"/>
                    <a:pt x="12419" y="11744"/>
                  </a:cubicBezTo>
                  <a:cubicBezTo>
                    <a:pt x="10709" y="13772"/>
                    <a:pt x="9415" y="16124"/>
                    <a:pt x="8612" y="18657"/>
                  </a:cubicBezTo>
                  <a:cubicBezTo>
                    <a:pt x="7567" y="21681"/>
                    <a:pt x="7061" y="24870"/>
                    <a:pt x="7116" y="28072"/>
                  </a:cubicBezTo>
                  <a:cubicBezTo>
                    <a:pt x="6955" y="31415"/>
                    <a:pt x="7245" y="34767"/>
                    <a:pt x="7977" y="38032"/>
                  </a:cubicBezTo>
                  <a:cubicBezTo>
                    <a:pt x="8626" y="40925"/>
                    <a:pt x="9810" y="43672"/>
                    <a:pt x="11467" y="46128"/>
                  </a:cubicBezTo>
                  <a:cubicBezTo>
                    <a:pt x="13020" y="48425"/>
                    <a:pt x="15103" y="50312"/>
                    <a:pt x="17540" y="51631"/>
                  </a:cubicBezTo>
                  <a:cubicBezTo>
                    <a:pt x="20251" y="53046"/>
                    <a:pt x="23275" y="53751"/>
                    <a:pt x="26331" y="53678"/>
                  </a:cubicBezTo>
                  <a:cubicBezTo>
                    <a:pt x="29108" y="53728"/>
                    <a:pt x="31852" y="53068"/>
                    <a:pt x="34307" y="51768"/>
                  </a:cubicBezTo>
                  <a:cubicBezTo>
                    <a:pt x="36644" y="50503"/>
                    <a:pt x="38684" y="48752"/>
                    <a:pt x="40289" y="46628"/>
                  </a:cubicBezTo>
                  <a:cubicBezTo>
                    <a:pt x="41968" y="44363"/>
                    <a:pt x="43241" y="41825"/>
                    <a:pt x="44050" y="39124"/>
                  </a:cubicBezTo>
                  <a:cubicBezTo>
                    <a:pt x="44834" y="36172"/>
                    <a:pt x="45185" y="33125"/>
                    <a:pt x="45093" y="30073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4" name="Forma libre 43">
              <a:extLst>
                <a:ext uri="{FF2B5EF4-FFF2-40B4-BE49-F238E27FC236}">
                  <a16:creationId xmlns:a16="http://schemas.microsoft.com/office/drawing/2014/main" id="{2130ACC2-34D8-544E-8019-49BEBA204B70}"/>
                </a:ext>
              </a:extLst>
            </p:cNvPr>
            <p:cNvSpPr/>
            <p:nvPr/>
          </p:nvSpPr>
          <p:spPr>
            <a:xfrm>
              <a:off x="605276" y="870132"/>
              <a:ext cx="4532" cy="77319"/>
            </a:xfrm>
            <a:custGeom>
              <a:avLst/>
              <a:gdLst>
                <a:gd name="connsiteX0" fmla="*/ 0 w 4531"/>
                <a:gd name="connsiteY0" fmla="*/ 9688 h 77319"/>
                <a:gd name="connsiteX1" fmla="*/ 0 w 4531"/>
                <a:gd name="connsiteY1" fmla="*/ 0 h 77319"/>
                <a:gd name="connsiteX2" fmla="*/ 7160 w 4531"/>
                <a:gd name="connsiteY2" fmla="*/ 0 h 77319"/>
                <a:gd name="connsiteX3" fmla="*/ 7160 w 4531"/>
                <a:gd name="connsiteY3" fmla="*/ 9688 h 77319"/>
                <a:gd name="connsiteX4" fmla="*/ 317 w 4531"/>
                <a:gd name="connsiteY4" fmla="*/ 78411 h 77319"/>
                <a:gd name="connsiteX5" fmla="*/ 317 w 4531"/>
                <a:gd name="connsiteY5" fmla="*/ 22013 h 77319"/>
                <a:gd name="connsiteX6" fmla="*/ 6798 w 4531"/>
                <a:gd name="connsiteY6" fmla="*/ 22013 h 77319"/>
                <a:gd name="connsiteX7" fmla="*/ 6798 w 4531"/>
                <a:gd name="connsiteY7" fmla="*/ 78411 h 7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31" h="77319">
                  <a:moveTo>
                    <a:pt x="0" y="9688"/>
                  </a:moveTo>
                  <a:lnTo>
                    <a:pt x="0" y="0"/>
                  </a:lnTo>
                  <a:lnTo>
                    <a:pt x="7160" y="0"/>
                  </a:lnTo>
                  <a:lnTo>
                    <a:pt x="7160" y="9688"/>
                  </a:lnTo>
                  <a:close/>
                  <a:moveTo>
                    <a:pt x="317" y="78411"/>
                  </a:moveTo>
                  <a:lnTo>
                    <a:pt x="317" y="22013"/>
                  </a:lnTo>
                  <a:lnTo>
                    <a:pt x="6798" y="22013"/>
                  </a:lnTo>
                  <a:lnTo>
                    <a:pt x="6798" y="78411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5" name="Forma libre 44">
              <a:extLst>
                <a:ext uri="{FF2B5EF4-FFF2-40B4-BE49-F238E27FC236}">
                  <a16:creationId xmlns:a16="http://schemas.microsoft.com/office/drawing/2014/main" id="{3EE6D4DD-C83E-FF45-BF0F-A34D6EC1A18B}"/>
                </a:ext>
              </a:extLst>
            </p:cNvPr>
            <p:cNvSpPr/>
            <p:nvPr/>
          </p:nvSpPr>
          <p:spPr>
            <a:xfrm>
              <a:off x="624581" y="876454"/>
              <a:ext cx="22659" cy="72771"/>
            </a:xfrm>
            <a:custGeom>
              <a:avLst/>
              <a:gdLst>
                <a:gd name="connsiteX0" fmla="*/ 25378 w 22658"/>
                <a:gd name="connsiteY0" fmla="*/ 72316 h 72771"/>
                <a:gd name="connsiteX1" fmla="*/ 22251 w 22658"/>
                <a:gd name="connsiteY1" fmla="*/ 73089 h 72771"/>
                <a:gd name="connsiteX2" fmla="*/ 17719 w 22658"/>
                <a:gd name="connsiteY2" fmla="*/ 73635 h 72771"/>
                <a:gd name="connsiteX3" fmla="*/ 10287 w 22658"/>
                <a:gd name="connsiteY3" fmla="*/ 71179 h 72771"/>
                <a:gd name="connsiteX4" fmla="*/ 7749 w 22658"/>
                <a:gd name="connsiteY4" fmla="*/ 62401 h 72771"/>
                <a:gd name="connsiteX5" fmla="*/ 7749 w 22658"/>
                <a:gd name="connsiteY5" fmla="*/ 21149 h 72771"/>
                <a:gd name="connsiteX6" fmla="*/ 0 w 22658"/>
                <a:gd name="connsiteY6" fmla="*/ 21149 h 72771"/>
                <a:gd name="connsiteX7" fmla="*/ 0 w 22658"/>
                <a:gd name="connsiteY7" fmla="*/ 15691 h 72771"/>
                <a:gd name="connsiteX8" fmla="*/ 7931 w 22658"/>
                <a:gd name="connsiteY8" fmla="*/ 15691 h 72771"/>
                <a:gd name="connsiteX9" fmla="*/ 7931 w 22658"/>
                <a:gd name="connsiteY9" fmla="*/ 0 h 72771"/>
                <a:gd name="connsiteX10" fmla="*/ 14275 w 22658"/>
                <a:gd name="connsiteY10" fmla="*/ 0 h 72771"/>
                <a:gd name="connsiteX11" fmla="*/ 14275 w 22658"/>
                <a:gd name="connsiteY11" fmla="*/ 15691 h 72771"/>
                <a:gd name="connsiteX12" fmla="*/ 24834 w 22658"/>
                <a:gd name="connsiteY12" fmla="*/ 15691 h 72771"/>
                <a:gd name="connsiteX13" fmla="*/ 24834 w 22658"/>
                <a:gd name="connsiteY13" fmla="*/ 21149 h 72771"/>
                <a:gd name="connsiteX14" fmla="*/ 14275 w 22658"/>
                <a:gd name="connsiteY14" fmla="*/ 21149 h 72771"/>
                <a:gd name="connsiteX15" fmla="*/ 14275 w 22658"/>
                <a:gd name="connsiteY15" fmla="*/ 59991 h 72771"/>
                <a:gd name="connsiteX16" fmla="*/ 14275 w 22658"/>
                <a:gd name="connsiteY16" fmla="*/ 63584 h 72771"/>
                <a:gd name="connsiteX17" fmla="*/ 14910 w 22658"/>
                <a:gd name="connsiteY17" fmla="*/ 66085 h 72771"/>
                <a:gd name="connsiteX18" fmla="*/ 16586 w 22658"/>
                <a:gd name="connsiteY18" fmla="*/ 67495 h 72771"/>
                <a:gd name="connsiteX19" fmla="*/ 19804 w 22658"/>
                <a:gd name="connsiteY19" fmla="*/ 67950 h 72771"/>
                <a:gd name="connsiteX20" fmla="*/ 22478 w 22658"/>
                <a:gd name="connsiteY20" fmla="*/ 67723 h 72771"/>
                <a:gd name="connsiteX21" fmla="*/ 25106 w 22658"/>
                <a:gd name="connsiteY21" fmla="*/ 67177 h 72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658" h="72771">
                  <a:moveTo>
                    <a:pt x="25378" y="72316"/>
                  </a:moveTo>
                  <a:cubicBezTo>
                    <a:pt x="24607" y="72316"/>
                    <a:pt x="23565" y="72726"/>
                    <a:pt x="22251" y="73089"/>
                  </a:cubicBezTo>
                  <a:cubicBezTo>
                    <a:pt x="20773" y="73485"/>
                    <a:pt x="19248" y="73667"/>
                    <a:pt x="17719" y="73635"/>
                  </a:cubicBezTo>
                  <a:cubicBezTo>
                    <a:pt x="15016" y="73831"/>
                    <a:pt x="12345" y="72948"/>
                    <a:pt x="10287" y="71179"/>
                  </a:cubicBezTo>
                  <a:cubicBezTo>
                    <a:pt x="8303" y="68714"/>
                    <a:pt x="7389" y="65549"/>
                    <a:pt x="7749" y="62401"/>
                  </a:cubicBezTo>
                  <a:lnTo>
                    <a:pt x="7749" y="21149"/>
                  </a:lnTo>
                  <a:lnTo>
                    <a:pt x="0" y="21149"/>
                  </a:lnTo>
                  <a:lnTo>
                    <a:pt x="0" y="15691"/>
                  </a:lnTo>
                  <a:lnTo>
                    <a:pt x="7931" y="15691"/>
                  </a:lnTo>
                  <a:lnTo>
                    <a:pt x="7931" y="0"/>
                  </a:lnTo>
                  <a:lnTo>
                    <a:pt x="14275" y="0"/>
                  </a:lnTo>
                  <a:lnTo>
                    <a:pt x="14275" y="15691"/>
                  </a:lnTo>
                  <a:lnTo>
                    <a:pt x="24834" y="15691"/>
                  </a:lnTo>
                  <a:lnTo>
                    <a:pt x="24834" y="21149"/>
                  </a:lnTo>
                  <a:lnTo>
                    <a:pt x="14275" y="21149"/>
                  </a:lnTo>
                  <a:lnTo>
                    <a:pt x="14275" y="59991"/>
                  </a:lnTo>
                  <a:cubicBezTo>
                    <a:pt x="14275" y="61355"/>
                    <a:pt x="14275" y="62538"/>
                    <a:pt x="14275" y="63584"/>
                  </a:cubicBezTo>
                  <a:cubicBezTo>
                    <a:pt x="14290" y="64457"/>
                    <a:pt x="14507" y="65312"/>
                    <a:pt x="14910" y="66085"/>
                  </a:cubicBezTo>
                  <a:cubicBezTo>
                    <a:pt x="15287" y="66736"/>
                    <a:pt x="15880" y="67236"/>
                    <a:pt x="16586" y="67495"/>
                  </a:cubicBezTo>
                  <a:cubicBezTo>
                    <a:pt x="17627" y="67823"/>
                    <a:pt x="18713" y="67977"/>
                    <a:pt x="19804" y="67950"/>
                  </a:cubicBezTo>
                  <a:cubicBezTo>
                    <a:pt x="20699" y="67941"/>
                    <a:pt x="21593" y="67864"/>
                    <a:pt x="22478" y="67723"/>
                  </a:cubicBezTo>
                  <a:cubicBezTo>
                    <a:pt x="23363" y="67591"/>
                    <a:pt x="24240" y="67409"/>
                    <a:pt x="25106" y="67177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6" name="Forma libre 45">
              <a:extLst>
                <a:ext uri="{FF2B5EF4-FFF2-40B4-BE49-F238E27FC236}">
                  <a16:creationId xmlns:a16="http://schemas.microsoft.com/office/drawing/2014/main" id="{EDF82970-251B-3D41-8596-3AD86FD2112A}"/>
                </a:ext>
              </a:extLst>
            </p:cNvPr>
            <p:cNvSpPr/>
            <p:nvPr/>
          </p:nvSpPr>
          <p:spPr>
            <a:xfrm>
              <a:off x="659065" y="890599"/>
              <a:ext cx="49849" cy="59126"/>
            </a:xfrm>
            <a:custGeom>
              <a:avLst/>
              <a:gdLst>
                <a:gd name="connsiteX0" fmla="*/ 28690 w 49849"/>
                <a:gd name="connsiteY0" fmla="*/ 25061 h 59126"/>
                <a:gd name="connsiteX1" fmla="*/ 33221 w 49849"/>
                <a:gd name="connsiteY1" fmla="*/ 24424 h 59126"/>
                <a:gd name="connsiteX2" fmla="*/ 37391 w 49849"/>
                <a:gd name="connsiteY2" fmla="*/ 23196 h 59126"/>
                <a:gd name="connsiteX3" fmla="*/ 39385 w 49849"/>
                <a:gd name="connsiteY3" fmla="*/ 20649 h 59126"/>
                <a:gd name="connsiteX4" fmla="*/ 39792 w 49849"/>
                <a:gd name="connsiteY4" fmla="*/ 17329 h 59126"/>
                <a:gd name="connsiteX5" fmla="*/ 36575 w 49849"/>
                <a:gd name="connsiteY5" fmla="*/ 9097 h 59126"/>
                <a:gd name="connsiteX6" fmla="*/ 25789 w 49849"/>
                <a:gd name="connsiteY6" fmla="*/ 5913 h 59126"/>
                <a:gd name="connsiteX7" fmla="*/ 19581 w 49849"/>
                <a:gd name="connsiteY7" fmla="*/ 6504 h 59126"/>
                <a:gd name="connsiteX8" fmla="*/ 14641 w 49849"/>
                <a:gd name="connsiteY8" fmla="*/ 8551 h 59126"/>
                <a:gd name="connsiteX9" fmla="*/ 11197 w 49849"/>
                <a:gd name="connsiteY9" fmla="*/ 12462 h 59126"/>
                <a:gd name="connsiteX10" fmla="*/ 9384 w 49849"/>
                <a:gd name="connsiteY10" fmla="*/ 18648 h 59126"/>
                <a:gd name="connsiteX11" fmla="*/ 2451 w 49849"/>
                <a:gd name="connsiteY11" fmla="*/ 18648 h 59126"/>
                <a:gd name="connsiteX12" fmla="*/ 4716 w 49849"/>
                <a:gd name="connsiteY12" fmla="*/ 10097 h 59126"/>
                <a:gd name="connsiteX13" fmla="*/ 9792 w 49849"/>
                <a:gd name="connsiteY13" fmla="*/ 4321 h 59126"/>
                <a:gd name="connsiteX14" fmla="*/ 16952 w 49849"/>
                <a:gd name="connsiteY14" fmla="*/ 1047 h 59126"/>
                <a:gd name="connsiteX15" fmla="*/ 25563 w 49849"/>
                <a:gd name="connsiteY15" fmla="*/ 0 h 59126"/>
                <a:gd name="connsiteX16" fmla="*/ 33539 w 49849"/>
                <a:gd name="connsiteY16" fmla="*/ 956 h 59126"/>
                <a:gd name="connsiteX17" fmla="*/ 40064 w 49849"/>
                <a:gd name="connsiteY17" fmla="*/ 3866 h 59126"/>
                <a:gd name="connsiteX18" fmla="*/ 44596 w 49849"/>
                <a:gd name="connsiteY18" fmla="*/ 9279 h 59126"/>
                <a:gd name="connsiteX19" fmla="*/ 46137 w 49849"/>
                <a:gd name="connsiteY19" fmla="*/ 17556 h 59126"/>
                <a:gd name="connsiteX20" fmla="*/ 46137 w 49849"/>
                <a:gd name="connsiteY20" fmla="*/ 48257 h 59126"/>
                <a:gd name="connsiteX21" fmla="*/ 47496 w 49849"/>
                <a:gd name="connsiteY21" fmla="*/ 53123 h 59126"/>
                <a:gd name="connsiteX22" fmla="*/ 52980 w 49849"/>
                <a:gd name="connsiteY22" fmla="*/ 52623 h 59126"/>
                <a:gd name="connsiteX23" fmla="*/ 52980 w 49849"/>
                <a:gd name="connsiteY23" fmla="*/ 57762 h 59126"/>
                <a:gd name="connsiteX24" fmla="*/ 50759 w 49849"/>
                <a:gd name="connsiteY24" fmla="*/ 58399 h 59126"/>
                <a:gd name="connsiteX25" fmla="*/ 47904 w 49849"/>
                <a:gd name="connsiteY25" fmla="*/ 58854 h 59126"/>
                <a:gd name="connsiteX26" fmla="*/ 44959 w 49849"/>
                <a:gd name="connsiteY26" fmla="*/ 58490 h 59126"/>
                <a:gd name="connsiteX27" fmla="*/ 42375 w 49849"/>
                <a:gd name="connsiteY27" fmla="*/ 57490 h 59126"/>
                <a:gd name="connsiteX28" fmla="*/ 40789 w 49849"/>
                <a:gd name="connsiteY28" fmla="*/ 55534 h 59126"/>
                <a:gd name="connsiteX29" fmla="*/ 39974 w 49849"/>
                <a:gd name="connsiteY29" fmla="*/ 52987 h 59126"/>
                <a:gd name="connsiteX30" fmla="*/ 39974 w 49849"/>
                <a:gd name="connsiteY30" fmla="*/ 50121 h 59126"/>
                <a:gd name="connsiteX31" fmla="*/ 30548 w 49849"/>
                <a:gd name="connsiteY31" fmla="*/ 57080 h 59126"/>
                <a:gd name="connsiteX32" fmla="*/ 19037 w 49849"/>
                <a:gd name="connsiteY32" fmla="*/ 59491 h 59126"/>
                <a:gd name="connsiteX33" fmla="*/ 11922 w 49849"/>
                <a:gd name="connsiteY33" fmla="*/ 58490 h 59126"/>
                <a:gd name="connsiteX34" fmla="*/ 5895 w 49849"/>
                <a:gd name="connsiteY34" fmla="*/ 55443 h 59126"/>
                <a:gd name="connsiteX35" fmla="*/ 1544 w 49849"/>
                <a:gd name="connsiteY35" fmla="*/ 50394 h 59126"/>
                <a:gd name="connsiteX36" fmla="*/ 3 w 49849"/>
                <a:gd name="connsiteY36" fmla="*/ 43254 h 59126"/>
                <a:gd name="connsiteX37" fmla="*/ 19671 w 49849"/>
                <a:gd name="connsiteY37" fmla="*/ 26243 h 59126"/>
                <a:gd name="connsiteX38" fmla="*/ 39656 w 49849"/>
                <a:gd name="connsiteY38" fmla="*/ 28336 h 59126"/>
                <a:gd name="connsiteX39" fmla="*/ 31273 w 49849"/>
                <a:gd name="connsiteY39" fmla="*/ 30610 h 59126"/>
                <a:gd name="connsiteX40" fmla="*/ 22798 w 49849"/>
                <a:gd name="connsiteY40" fmla="*/ 31474 h 59126"/>
                <a:gd name="connsiteX41" fmla="*/ 11152 w 49849"/>
                <a:gd name="connsiteY41" fmla="*/ 34885 h 59126"/>
                <a:gd name="connsiteX42" fmla="*/ 6982 w 49849"/>
                <a:gd name="connsiteY42" fmla="*/ 43481 h 59126"/>
                <a:gd name="connsiteX43" fmla="*/ 8025 w 49849"/>
                <a:gd name="connsiteY43" fmla="*/ 48029 h 59126"/>
                <a:gd name="connsiteX44" fmla="*/ 10698 w 49849"/>
                <a:gd name="connsiteY44" fmla="*/ 51213 h 59126"/>
                <a:gd name="connsiteX45" fmla="*/ 14641 w 49849"/>
                <a:gd name="connsiteY45" fmla="*/ 53032 h 59126"/>
                <a:gd name="connsiteX46" fmla="*/ 19173 w 49849"/>
                <a:gd name="connsiteY46" fmla="*/ 53669 h 59126"/>
                <a:gd name="connsiteX47" fmla="*/ 26786 w 49849"/>
                <a:gd name="connsiteY47" fmla="*/ 52668 h 59126"/>
                <a:gd name="connsiteX48" fmla="*/ 33357 w 49849"/>
                <a:gd name="connsiteY48" fmla="*/ 49667 h 59126"/>
                <a:gd name="connsiteX49" fmla="*/ 37889 w 49849"/>
                <a:gd name="connsiteY49" fmla="*/ 44573 h 59126"/>
                <a:gd name="connsiteX50" fmla="*/ 39656 w 49849"/>
                <a:gd name="connsiteY50" fmla="*/ 37205 h 5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9849" h="59126">
                  <a:moveTo>
                    <a:pt x="28690" y="25061"/>
                  </a:moveTo>
                  <a:lnTo>
                    <a:pt x="33221" y="24424"/>
                  </a:lnTo>
                  <a:cubicBezTo>
                    <a:pt x="34659" y="24201"/>
                    <a:pt x="36061" y="23792"/>
                    <a:pt x="37391" y="23196"/>
                  </a:cubicBezTo>
                  <a:cubicBezTo>
                    <a:pt x="38445" y="22746"/>
                    <a:pt x="39197" y="21786"/>
                    <a:pt x="39385" y="20649"/>
                  </a:cubicBezTo>
                  <a:cubicBezTo>
                    <a:pt x="39643" y="19562"/>
                    <a:pt x="39780" y="18448"/>
                    <a:pt x="39792" y="17329"/>
                  </a:cubicBezTo>
                  <a:cubicBezTo>
                    <a:pt x="39892" y="14259"/>
                    <a:pt x="38728" y="11280"/>
                    <a:pt x="36575" y="9097"/>
                  </a:cubicBezTo>
                  <a:cubicBezTo>
                    <a:pt x="33529" y="6668"/>
                    <a:pt x="29660" y="5526"/>
                    <a:pt x="25789" y="5913"/>
                  </a:cubicBezTo>
                  <a:cubicBezTo>
                    <a:pt x="23705" y="5890"/>
                    <a:pt x="21624" y="6086"/>
                    <a:pt x="19581" y="6504"/>
                  </a:cubicBezTo>
                  <a:cubicBezTo>
                    <a:pt x="17820" y="6868"/>
                    <a:pt x="16143" y="7560"/>
                    <a:pt x="14641" y="8551"/>
                  </a:cubicBezTo>
                  <a:cubicBezTo>
                    <a:pt x="13221" y="9583"/>
                    <a:pt x="12045" y="10921"/>
                    <a:pt x="11197" y="12462"/>
                  </a:cubicBezTo>
                  <a:cubicBezTo>
                    <a:pt x="10195" y="14386"/>
                    <a:pt x="9579" y="16488"/>
                    <a:pt x="9384" y="18648"/>
                  </a:cubicBezTo>
                  <a:lnTo>
                    <a:pt x="2451" y="18648"/>
                  </a:lnTo>
                  <a:cubicBezTo>
                    <a:pt x="2584" y="15669"/>
                    <a:pt x="3357" y="12749"/>
                    <a:pt x="4716" y="10097"/>
                  </a:cubicBezTo>
                  <a:cubicBezTo>
                    <a:pt x="5956" y="7814"/>
                    <a:pt x="7691" y="5840"/>
                    <a:pt x="9792" y="4321"/>
                  </a:cubicBezTo>
                  <a:cubicBezTo>
                    <a:pt x="11944" y="2770"/>
                    <a:pt x="14376" y="1661"/>
                    <a:pt x="16952" y="1047"/>
                  </a:cubicBezTo>
                  <a:cubicBezTo>
                    <a:pt x="19769" y="346"/>
                    <a:pt x="22660" y="-9"/>
                    <a:pt x="25563" y="0"/>
                  </a:cubicBezTo>
                  <a:cubicBezTo>
                    <a:pt x="28250" y="-13"/>
                    <a:pt x="30930" y="305"/>
                    <a:pt x="33539" y="956"/>
                  </a:cubicBezTo>
                  <a:cubicBezTo>
                    <a:pt x="35881" y="1492"/>
                    <a:pt x="38097" y="2484"/>
                    <a:pt x="40064" y="3866"/>
                  </a:cubicBezTo>
                  <a:cubicBezTo>
                    <a:pt x="42012" y="5249"/>
                    <a:pt x="43573" y="7114"/>
                    <a:pt x="44596" y="9279"/>
                  </a:cubicBezTo>
                  <a:cubicBezTo>
                    <a:pt x="45704" y="11894"/>
                    <a:pt x="46230" y="14718"/>
                    <a:pt x="46137" y="17556"/>
                  </a:cubicBezTo>
                  <a:lnTo>
                    <a:pt x="46137" y="48257"/>
                  </a:lnTo>
                  <a:cubicBezTo>
                    <a:pt x="46137" y="50804"/>
                    <a:pt x="46590" y="52441"/>
                    <a:pt x="47496" y="53123"/>
                  </a:cubicBezTo>
                  <a:cubicBezTo>
                    <a:pt x="48403" y="53806"/>
                    <a:pt x="50261" y="53624"/>
                    <a:pt x="52980" y="52623"/>
                  </a:cubicBezTo>
                  <a:lnTo>
                    <a:pt x="52980" y="57762"/>
                  </a:lnTo>
                  <a:lnTo>
                    <a:pt x="50759" y="58399"/>
                  </a:lnTo>
                  <a:cubicBezTo>
                    <a:pt x="49832" y="58681"/>
                    <a:pt x="48872" y="58831"/>
                    <a:pt x="47904" y="58854"/>
                  </a:cubicBezTo>
                  <a:cubicBezTo>
                    <a:pt x="46911" y="58849"/>
                    <a:pt x="45922" y="58727"/>
                    <a:pt x="44959" y="58490"/>
                  </a:cubicBezTo>
                  <a:cubicBezTo>
                    <a:pt x="44018" y="58422"/>
                    <a:pt x="43119" y="58072"/>
                    <a:pt x="42375" y="57490"/>
                  </a:cubicBezTo>
                  <a:cubicBezTo>
                    <a:pt x="41726" y="56948"/>
                    <a:pt x="41187" y="56284"/>
                    <a:pt x="40789" y="55534"/>
                  </a:cubicBezTo>
                  <a:cubicBezTo>
                    <a:pt x="40376" y="54738"/>
                    <a:pt x="40101" y="53874"/>
                    <a:pt x="39974" y="52987"/>
                  </a:cubicBezTo>
                  <a:cubicBezTo>
                    <a:pt x="39901" y="52032"/>
                    <a:pt x="39901" y="51077"/>
                    <a:pt x="39974" y="50121"/>
                  </a:cubicBezTo>
                  <a:cubicBezTo>
                    <a:pt x="37347" y="53073"/>
                    <a:pt x="34137" y="55443"/>
                    <a:pt x="30548" y="57080"/>
                  </a:cubicBezTo>
                  <a:cubicBezTo>
                    <a:pt x="26924" y="58690"/>
                    <a:pt x="23000" y="59514"/>
                    <a:pt x="19037" y="59491"/>
                  </a:cubicBezTo>
                  <a:cubicBezTo>
                    <a:pt x="16629" y="59509"/>
                    <a:pt x="14232" y="59172"/>
                    <a:pt x="11922" y="58490"/>
                  </a:cubicBezTo>
                  <a:cubicBezTo>
                    <a:pt x="9725" y="57903"/>
                    <a:pt x="7673" y="56866"/>
                    <a:pt x="5895" y="55443"/>
                  </a:cubicBezTo>
                  <a:cubicBezTo>
                    <a:pt x="4082" y="54115"/>
                    <a:pt x="2595" y="52386"/>
                    <a:pt x="1544" y="50394"/>
                  </a:cubicBezTo>
                  <a:cubicBezTo>
                    <a:pt x="480" y="48170"/>
                    <a:pt x="-48" y="45723"/>
                    <a:pt x="3" y="43254"/>
                  </a:cubicBezTo>
                  <a:cubicBezTo>
                    <a:pt x="3" y="33657"/>
                    <a:pt x="6575" y="28017"/>
                    <a:pt x="19671" y="26243"/>
                  </a:cubicBezTo>
                  <a:close/>
                  <a:moveTo>
                    <a:pt x="39656" y="28336"/>
                  </a:moveTo>
                  <a:cubicBezTo>
                    <a:pt x="36972" y="29455"/>
                    <a:pt x="34154" y="30223"/>
                    <a:pt x="31273" y="30610"/>
                  </a:cubicBezTo>
                  <a:cubicBezTo>
                    <a:pt x="28463" y="30974"/>
                    <a:pt x="25653" y="31292"/>
                    <a:pt x="22798" y="31474"/>
                  </a:cubicBezTo>
                  <a:cubicBezTo>
                    <a:pt x="18685" y="31565"/>
                    <a:pt x="14669" y="32743"/>
                    <a:pt x="11152" y="34885"/>
                  </a:cubicBezTo>
                  <a:cubicBezTo>
                    <a:pt x="8330" y="36795"/>
                    <a:pt x="6740" y="40075"/>
                    <a:pt x="6982" y="43481"/>
                  </a:cubicBezTo>
                  <a:cubicBezTo>
                    <a:pt x="6930" y="45064"/>
                    <a:pt x="7289" y="46628"/>
                    <a:pt x="8025" y="48029"/>
                  </a:cubicBezTo>
                  <a:cubicBezTo>
                    <a:pt x="8687" y="49266"/>
                    <a:pt x="9597" y="50349"/>
                    <a:pt x="10698" y="51213"/>
                  </a:cubicBezTo>
                  <a:cubicBezTo>
                    <a:pt x="11883" y="52073"/>
                    <a:pt x="13222" y="52687"/>
                    <a:pt x="14641" y="53032"/>
                  </a:cubicBezTo>
                  <a:cubicBezTo>
                    <a:pt x="16115" y="53455"/>
                    <a:pt x="17640" y="53669"/>
                    <a:pt x="19173" y="53669"/>
                  </a:cubicBezTo>
                  <a:cubicBezTo>
                    <a:pt x="21742" y="53655"/>
                    <a:pt x="24300" y="53319"/>
                    <a:pt x="26786" y="52668"/>
                  </a:cubicBezTo>
                  <a:cubicBezTo>
                    <a:pt x="29138" y="52073"/>
                    <a:pt x="31364" y="51054"/>
                    <a:pt x="33357" y="49667"/>
                  </a:cubicBezTo>
                  <a:cubicBezTo>
                    <a:pt x="35239" y="48343"/>
                    <a:pt x="36790" y="46597"/>
                    <a:pt x="37889" y="44573"/>
                  </a:cubicBezTo>
                  <a:cubicBezTo>
                    <a:pt x="39108" y="42312"/>
                    <a:pt x="39718" y="39774"/>
                    <a:pt x="39656" y="37205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7" name="Forma libre 46">
              <a:extLst>
                <a:ext uri="{FF2B5EF4-FFF2-40B4-BE49-F238E27FC236}">
                  <a16:creationId xmlns:a16="http://schemas.microsoft.com/office/drawing/2014/main" id="{E2F38A13-FB8C-854D-BFB0-9452716A92DF}"/>
                </a:ext>
              </a:extLst>
            </p:cNvPr>
            <p:cNvSpPr/>
            <p:nvPr/>
          </p:nvSpPr>
          <p:spPr>
            <a:xfrm>
              <a:off x="724960" y="870132"/>
              <a:ext cx="4532" cy="77319"/>
            </a:xfrm>
            <a:custGeom>
              <a:avLst/>
              <a:gdLst>
                <a:gd name="connsiteX0" fmla="*/ 0 w 4531"/>
                <a:gd name="connsiteY0" fmla="*/ 78411 h 77319"/>
                <a:gd name="connsiteX1" fmla="*/ 0 w 4531"/>
                <a:gd name="connsiteY1" fmla="*/ 0 h 77319"/>
                <a:gd name="connsiteX2" fmla="*/ 6480 w 4531"/>
                <a:gd name="connsiteY2" fmla="*/ 0 h 77319"/>
                <a:gd name="connsiteX3" fmla="*/ 6480 w 4531"/>
                <a:gd name="connsiteY3" fmla="*/ 78411 h 7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" h="77319">
                  <a:moveTo>
                    <a:pt x="0" y="78411"/>
                  </a:moveTo>
                  <a:lnTo>
                    <a:pt x="0" y="0"/>
                  </a:lnTo>
                  <a:lnTo>
                    <a:pt x="6480" y="0"/>
                  </a:lnTo>
                  <a:lnTo>
                    <a:pt x="6480" y="78411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8" name="Forma libre 47">
              <a:extLst>
                <a:ext uri="{FF2B5EF4-FFF2-40B4-BE49-F238E27FC236}">
                  <a16:creationId xmlns:a16="http://schemas.microsoft.com/office/drawing/2014/main" id="{FDCDC14B-B1A6-BF4C-947D-60F10D16EEB1}"/>
                </a:ext>
              </a:extLst>
            </p:cNvPr>
            <p:cNvSpPr/>
            <p:nvPr/>
          </p:nvSpPr>
          <p:spPr>
            <a:xfrm>
              <a:off x="781290" y="870132"/>
              <a:ext cx="49849" cy="77319"/>
            </a:xfrm>
            <a:custGeom>
              <a:avLst/>
              <a:gdLst>
                <a:gd name="connsiteX0" fmla="*/ 0 w 49849"/>
                <a:gd name="connsiteY0" fmla="*/ 78411 h 77319"/>
                <a:gd name="connsiteX1" fmla="*/ 0 w 49849"/>
                <a:gd name="connsiteY1" fmla="*/ 0 h 77319"/>
                <a:gd name="connsiteX2" fmla="*/ 50393 w 49849"/>
                <a:gd name="connsiteY2" fmla="*/ 0 h 77319"/>
                <a:gd name="connsiteX3" fmla="*/ 50393 w 49849"/>
                <a:gd name="connsiteY3" fmla="*/ 6322 h 77319"/>
                <a:gd name="connsiteX4" fmla="*/ 7387 w 49849"/>
                <a:gd name="connsiteY4" fmla="*/ 6322 h 77319"/>
                <a:gd name="connsiteX5" fmla="*/ 7387 w 49849"/>
                <a:gd name="connsiteY5" fmla="*/ 34475 h 77319"/>
                <a:gd name="connsiteX6" fmla="*/ 46496 w 49849"/>
                <a:gd name="connsiteY6" fmla="*/ 34475 h 77319"/>
                <a:gd name="connsiteX7" fmla="*/ 46496 w 49849"/>
                <a:gd name="connsiteY7" fmla="*/ 40752 h 77319"/>
                <a:gd name="connsiteX8" fmla="*/ 7387 w 49849"/>
                <a:gd name="connsiteY8" fmla="*/ 40752 h 77319"/>
                <a:gd name="connsiteX9" fmla="*/ 7387 w 49849"/>
                <a:gd name="connsiteY9" fmla="*/ 78229 h 7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849" h="77319">
                  <a:moveTo>
                    <a:pt x="0" y="78411"/>
                  </a:moveTo>
                  <a:lnTo>
                    <a:pt x="0" y="0"/>
                  </a:lnTo>
                  <a:lnTo>
                    <a:pt x="50393" y="0"/>
                  </a:lnTo>
                  <a:lnTo>
                    <a:pt x="50393" y="6322"/>
                  </a:lnTo>
                  <a:lnTo>
                    <a:pt x="7387" y="6322"/>
                  </a:lnTo>
                  <a:lnTo>
                    <a:pt x="7387" y="34475"/>
                  </a:lnTo>
                  <a:lnTo>
                    <a:pt x="46496" y="34475"/>
                  </a:lnTo>
                  <a:lnTo>
                    <a:pt x="46496" y="40752"/>
                  </a:lnTo>
                  <a:lnTo>
                    <a:pt x="7387" y="40752"/>
                  </a:lnTo>
                  <a:lnTo>
                    <a:pt x="7387" y="78229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49" name="Forma libre 48">
              <a:extLst>
                <a:ext uri="{FF2B5EF4-FFF2-40B4-BE49-F238E27FC236}">
                  <a16:creationId xmlns:a16="http://schemas.microsoft.com/office/drawing/2014/main" id="{B12BEDC9-BEF2-224A-8F3D-3F2B824737C5}"/>
                </a:ext>
              </a:extLst>
            </p:cNvPr>
            <p:cNvSpPr/>
            <p:nvPr/>
          </p:nvSpPr>
          <p:spPr>
            <a:xfrm>
              <a:off x="843601" y="870132"/>
              <a:ext cx="4532" cy="77319"/>
            </a:xfrm>
            <a:custGeom>
              <a:avLst/>
              <a:gdLst>
                <a:gd name="connsiteX0" fmla="*/ 0 w 4531"/>
                <a:gd name="connsiteY0" fmla="*/ 9688 h 77319"/>
                <a:gd name="connsiteX1" fmla="*/ 0 w 4531"/>
                <a:gd name="connsiteY1" fmla="*/ 0 h 77319"/>
                <a:gd name="connsiteX2" fmla="*/ 7160 w 4531"/>
                <a:gd name="connsiteY2" fmla="*/ 0 h 77319"/>
                <a:gd name="connsiteX3" fmla="*/ 7160 w 4531"/>
                <a:gd name="connsiteY3" fmla="*/ 9688 h 77319"/>
                <a:gd name="connsiteX4" fmla="*/ 317 w 4531"/>
                <a:gd name="connsiteY4" fmla="*/ 78411 h 77319"/>
                <a:gd name="connsiteX5" fmla="*/ 317 w 4531"/>
                <a:gd name="connsiteY5" fmla="*/ 22013 h 77319"/>
                <a:gd name="connsiteX6" fmla="*/ 6843 w 4531"/>
                <a:gd name="connsiteY6" fmla="*/ 22013 h 77319"/>
                <a:gd name="connsiteX7" fmla="*/ 6843 w 4531"/>
                <a:gd name="connsiteY7" fmla="*/ 78411 h 77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31" h="77319">
                  <a:moveTo>
                    <a:pt x="0" y="9688"/>
                  </a:moveTo>
                  <a:lnTo>
                    <a:pt x="0" y="0"/>
                  </a:lnTo>
                  <a:lnTo>
                    <a:pt x="7160" y="0"/>
                  </a:lnTo>
                  <a:lnTo>
                    <a:pt x="7160" y="9688"/>
                  </a:lnTo>
                  <a:close/>
                  <a:moveTo>
                    <a:pt x="317" y="78411"/>
                  </a:moveTo>
                  <a:lnTo>
                    <a:pt x="317" y="22013"/>
                  </a:lnTo>
                  <a:lnTo>
                    <a:pt x="6843" y="22013"/>
                  </a:lnTo>
                  <a:lnTo>
                    <a:pt x="6843" y="78411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0" name="Forma libre 49">
              <a:extLst>
                <a:ext uri="{FF2B5EF4-FFF2-40B4-BE49-F238E27FC236}">
                  <a16:creationId xmlns:a16="http://schemas.microsoft.com/office/drawing/2014/main" id="{9B749B50-E2C2-E749-938B-212FFC0C5B45}"/>
                </a:ext>
              </a:extLst>
            </p:cNvPr>
            <p:cNvSpPr/>
            <p:nvPr/>
          </p:nvSpPr>
          <p:spPr>
            <a:xfrm>
              <a:off x="868572" y="890681"/>
              <a:ext cx="40786" cy="54578"/>
            </a:xfrm>
            <a:custGeom>
              <a:avLst/>
              <a:gdLst>
                <a:gd name="connsiteX0" fmla="*/ 6526 w 40785"/>
                <a:gd name="connsiteY0" fmla="*/ 57862 h 54578"/>
                <a:gd name="connsiteX1" fmla="*/ 0 w 40785"/>
                <a:gd name="connsiteY1" fmla="*/ 57862 h 54578"/>
                <a:gd name="connsiteX2" fmla="*/ 0 w 40785"/>
                <a:gd name="connsiteY2" fmla="*/ 1464 h 54578"/>
                <a:gd name="connsiteX3" fmla="*/ 6526 w 40785"/>
                <a:gd name="connsiteY3" fmla="*/ 1464 h 54578"/>
                <a:gd name="connsiteX4" fmla="*/ 6526 w 40785"/>
                <a:gd name="connsiteY4" fmla="*/ 9378 h 54578"/>
                <a:gd name="connsiteX5" fmla="*/ 14592 w 40785"/>
                <a:gd name="connsiteY5" fmla="*/ 2647 h 54578"/>
                <a:gd name="connsiteX6" fmla="*/ 24653 w 40785"/>
                <a:gd name="connsiteY6" fmla="*/ 9 h 54578"/>
                <a:gd name="connsiteX7" fmla="*/ 34305 w 40785"/>
                <a:gd name="connsiteY7" fmla="*/ 1828 h 54578"/>
                <a:gd name="connsiteX8" fmla="*/ 41783 w 40785"/>
                <a:gd name="connsiteY8" fmla="*/ 8059 h 54578"/>
                <a:gd name="connsiteX9" fmla="*/ 44230 w 40785"/>
                <a:gd name="connsiteY9" fmla="*/ 14336 h 54578"/>
                <a:gd name="connsiteX10" fmla="*/ 44593 w 40785"/>
                <a:gd name="connsiteY10" fmla="*/ 21021 h 54578"/>
                <a:gd name="connsiteX11" fmla="*/ 44593 w 40785"/>
                <a:gd name="connsiteY11" fmla="*/ 57953 h 54578"/>
                <a:gd name="connsiteX12" fmla="*/ 38112 w 40785"/>
                <a:gd name="connsiteY12" fmla="*/ 57953 h 54578"/>
                <a:gd name="connsiteX13" fmla="*/ 38112 w 40785"/>
                <a:gd name="connsiteY13" fmla="*/ 21158 h 54578"/>
                <a:gd name="connsiteX14" fmla="*/ 34713 w 40785"/>
                <a:gd name="connsiteY14" fmla="*/ 9696 h 54578"/>
                <a:gd name="connsiteX15" fmla="*/ 23565 w 40785"/>
                <a:gd name="connsiteY15" fmla="*/ 5921 h 54578"/>
                <a:gd name="connsiteX16" fmla="*/ 18036 w 40785"/>
                <a:gd name="connsiteY16" fmla="*/ 6831 h 54578"/>
                <a:gd name="connsiteX17" fmla="*/ 10106 w 40785"/>
                <a:gd name="connsiteY17" fmla="*/ 12744 h 54578"/>
                <a:gd name="connsiteX18" fmla="*/ 7931 w 40785"/>
                <a:gd name="connsiteY18" fmla="*/ 16883 h 54578"/>
                <a:gd name="connsiteX19" fmla="*/ 6707 w 40785"/>
                <a:gd name="connsiteY19" fmla="*/ 22113 h 54578"/>
                <a:gd name="connsiteX20" fmla="*/ 6707 w 40785"/>
                <a:gd name="connsiteY20" fmla="*/ 27571 h 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785" h="54578">
                  <a:moveTo>
                    <a:pt x="6526" y="57862"/>
                  </a:moveTo>
                  <a:lnTo>
                    <a:pt x="0" y="57862"/>
                  </a:lnTo>
                  <a:lnTo>
                    <a:pt x="0" y="1464"/>
                  </a:lnTo>
                  <a:lnTo>
                    <a:pt x="6526" y="1464"/>
                  </a:lnTo>
                  <a:lnTo>
                    <a:pt x="6526" y="9378"/>
                  </a:lnTo>
                  <a:cubicBezTo>
                    <a:pt x="8923" y="6804"/>
                    <a:pt x="11633" y="4539"/>
                    <a:pt x="14592" y="2647"/>
                  </a:cubicBezTo>
                  <a:cubicBezTo>
                    <a:pt x="17624" y="814"/>
                    <a:pt x="21118" y="-100"/>
                    <a:pt x="24653" y="9"/>
                  </a:cubicBezTo>
                  <a:cubicBezTo>
                    <a:pt x="27956" y="-23"/>
                    <a:pt x="31237" y="591"/>
                    <a:pt x="34305" y="1828"/>
                  </a:cubicBezTo>
                  <a:cubicBezTo>
                    <a:pt x="37360" y="3111"/>
                    <a:pt x="39966" y="5280"/>
                    <a:pt x="41783" y="8059"/>
                  </a:cubicBezTo>
                  <a:cubicBezTo>
                    <a:pt x="43074" y="9933"/>
                    <a:pt x="43913" y="12080"/>
                    <a:pt x="44230" y="14336"/>
                  </a:cubicBezTo>
                  <a:cubicBezTo>
                    <a:pt x="44493" y="16555"/>
                    <a:pt x="44611" y="18788"/>
                    <a:pt x="44593" y="21021"/>
                  </a:cubicBezTo>
                  <a:lnTo>
                    <a:pt x="44593" y="57953"/>
                  </a:lnTo>
                  <a:lnTo>
                    <a:pt x="38112" y="57953"/>
                  </a:lnTo>
                  <a:lnTo>
                    <a:pt x="38112" y="21158"/>
                  </a:lnTo>
                  <a:cubicBezTo>
                    <a:pt x="38425" y="17046"/>
                    <a:pt x="37215" y="12967"/>
                    <a:pt x="34713" y="9696"/>
                  </a:cubicBezTo>
                  <a:cubicBezTo>
                    <a:pt x="31709" y="6895"/>
                    <a:pt x="27648" y="5517"/>
                    <a:pt x="23565" y="5921"/>
                  </a:cubicBezTo>
                  <a:cubicBezTo>
                    <a:pt x="21680" y="5880"/>
                    <a:pt x="19808" y="6185"/>
                    <a:pt x="18036" y="6831"/>
                  </a:cubicBezTo>
                  <a:cubicBezTo>
                    <a:pt x="14864" y="7964"/>
                    <a:pt x="12104" y="10024"/>
                    <a:pt x="10106" y="12744"/>
                  </a:cubicBezTo>
                  <a:cubicBezTo>
                    <a:pt x="9190" y="14013"/>
                    <a:pt x="8456" y="15404"/>
                    <a:pt x="7931" y="16883"/>
                  </a:cubicBezTo>
                  <a:cubicBezTo>
                    <a:pt x="7310" y="18570"/>
                    <a:pt x="6897" y="20325"/>
                    <a:pt x="6707" y="22113"/>
                  </a:cubicBezTo>
                  <a:cubicBezTo>
                    <a:pt x="6707" y="23796"/>
                    <a:pt x="6707" y="25615"/>
                    <a:pt x="6707" y="27571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1" name="Forma libre 50">
              <a:extLst>
                <a:ext uri="{FF2B5EF4-FFF2-40B4-BE49-F238E27FC236}">
                  <a16:creationId xmlns:a16="http://schemas.microsoft.com/office/drawing/2014/main" id="{718F3C26-C0B2-EC4F-A4B9-B876C34DB44D}"/>
                </a:ext>
              </a:extLst>
            </p:cNvPr>
            <p:cNvSpPr/>
            <p:nvPr/>
          </p:nvSpPr>
          <p:spPr>
            <a:xfrm>
              <a:off x="927931" y="890599"/>
              <a:ext cx="49849" cy="59126"/>
            </a:xfrm>
            <a:custGeom>
              <a:avLst/>
              <a:gdLst>
                <a:gd name="connsiteX0" fmla="*/ 28149 w 49849"/>
                <a:gd name="connsiteY0" fmla="*/ 25061 h 59126"/>
                <a:gd name="connsiteX1" fmla="*/ 32681 w 49849"/>
                <a:gd name="connsiteY1" fmla="*/ 24424 h 59126"/>
                <a:gd name="connsiteX2" fmla="*/ 36895 w 49849"/>
                <a:gd name="connsiteY2" fmla="*/ 23196 h 59126"/>
                <a:gd name="connsiteX3" fmla="*/ 38889 w 49849"/>
                <a:gd name="connsiteY3" fmla="*/ 20649 h 59126"/>
                <a:gd name="connsiteX4" fmla="*/ 39252 w 49849"/>
                <a:gd name="connsiteY4" fmla="*/ 17329 h 59126"/>
                <a:gd name="connsiteX5" fmla="*/ 36079 w 49849"/>
                <a:gd name="connsiteY5" fmla="*/ 9097 h 59126"/>
                <a:gd name="connsiteX6" fmla="*/ 25248 w 49849"/>
                <a:gd name="connsiteY6" fmla="*/ 5913 h 59126"/>
                <a:gd name="connsiteX7" fmla="*/ 19085 w 49849"/>
                <a:gd name="connsiteY7" fmla="*/ 6504 h 59126"/>
                <a:gd name="connsiteX8" fmla="*/ 14146 w 49849"/>
                <a:gd name="connsiteY8" fmla="*/ 8551 h 59126"/>
                <a:gd name="connsiteX9" fmla="*/ 10656 w 49849"/>
                <a:gd name="connsiteY9" fmla="*/ 12462 h 59126"/>
                <a:gd name="connsiteX10" fmla="*/ 8889 w 49849"/>
                <a:gd name="connsiteY10" fmla="*/ 18648 h 59126"/>
                <a:gd name="connsiteX11" fmla="*/ 2227 w 49849"/>
                <a:gd name="connsiteY11" fmla="*/ 18648 h 59126"/>
                <a:gd name="connsiteX12" fmla="*/ 4538 w 49849"/>
                <a:gd name="connsiteY12" fmla="*/ 10097 h 59126"/>
                <a:gd name="connsiteX13" fmla="*/ 9569 w 49849"/>
                <a:gd name="connsiteY13" fmla="*/ 4321 h 59126"/>
                <a:gd name="connsiteX14" fmla="*/ 16729 w 49849"/>
                <a:gd name="connsiteY14" fmla="*/ 1047 h 59126"/>
                <a:gd name="connsiteX15" fmla="*/ 25384 w 49849"/>
                <a:gd name="connsiteY15" fmla="*/ 0 h 59126"/>
                <a:gd name="connsiteX16" fmla="*/ 33360 w 49849"/>
                <a:gd name="connsiteY16" fmla="*/ 956 h 59126"/>
                <a:gd name="connsiteX17" fmla="*/ 39841 w 49849"/>
                <a:gd name="connsiteY17" fmla="*/ 3866 h 59126"/>
                <a:gd name="connsiteX18" fmla="*/ 44373 w 49849"/>
                <a:gd name="connsiteY18" fmla="*/ 9279 h 59126"/>
                <a:gd name="connsiteX19" fmla="*/ 45959 w 49849"/>
                <a:gd name="connsiteY19" fmla="*/ 17556 h 59126"/>
                <a:gd name="connsiteX20" fmla="*/ 45959 w 49849"/>
                <a:gd name="connsiteY20" fmla="*/ 48257 h 59126"/>
                <a:gd name="connsiteX21" fmla="*/ 47318 w 49849"/>
                <a:gd name="connsiteY21" fmla="*/ 53123 h 59126"/>
                <a:gd name="connsiteX22" fmla="*/ 52802 w 49849"/>
                <a:gd name="connsiteY22" fmla="*/ 52623 h 59126"/>
                <a:gd name="connsiteX23" fmla="*/ 52802 w 49849"/>
                <a:gd name="connsiteY23" fmla="*/ 57762 h 59126"/>
                <a:gd name="connsiteX24" fmla="*/ 50581 w 49849"/>
                <a:gd name="connsiteY24" fmla="*/ 58399 h 59126"/>
                <a:gd name="connsiteX25" fmla="*/ 47681 w 49849"/>
                <a:gd name="connsiteY25" fmla="*/ 58854 h 59126"/>
                <a:gd name="connsiteX26" fmla="*/ 44780 w 49849"/>
                <a:gd name="connsiteY26" fmla="*/ 58490 h 59126"/>
                <a:gd name="connsiteX27" fmla="*/ 42152 w 49849"/>
                <a:gd name="connsiteY27" fmla="*/ 57490 h 59126"/>
                <a:gd name="connsiteX28" fmla="*/ 40566 w 49849"/>
                <a:gd name="connsiteY28" fmla="*/ 55534 h 59126"/>
                <a:gd name="connsiteX29" fmla="*/ 39750 w 49849"/>
                <a:gd name="connsiteY29" fmla="*/ 52987 h 59126"/>
                <a:gd name="connsiteX30" fmla="*/ 39750 w 49849"/>
                <a:gd name="connsiteY30" fmla="*/ 50121 h 59126"/>
                <a:gd name="connsiteX31" fmla="*/ 30279 w 49849"/>
                <a:gd name="connsiteY31" fmla="*/ 57080 h 59126"/>
                <a:gd name="connsiteX32" fmla="*/ 18768 w 49849"/>
                <a:gd name="connsiteY32" fmla="*/ 59491 h 59126"/>
                <a:gd name="connsiteX33" fmla="*/ 11653 w 49849"/>
                <a:gd name="connsiteY33" fmla="*/ 58490 h 59126"/>
                <a:gd name="connsiteX34" fmla="*/ 5671 w 49849"/>
                <a:gd name="connsiteY34" fmla="*/ 55443 h 59126"/>
                <a:gd name="connsiteX35" fmla="*/ 1547 w 49849"/>
                <a:gd name="connsiteY35" fmla="*/ 50394 h 59126"/>
                <a:gd name="connsiteX36" fmla="*/ 7 w 49849"/>
                <a:gd name="connsiteY36" fmla="*/ 43254 h 59126"/>
                <a:gd name="connsiteX37" fmla="*/ 19629 w 49849"/>
                <a:gd name="connsiteY37" fmla="*/ 26243 h 59126"/>
                <a:gd name="connsiteX38" fmla="*/ 39116 w 49849"/>
                <a:gd name="connsiteY38" fmla="*/ 28336 h 59126"/>
                <a:gd name="connsiteX39" fmla="*/ 30777 w 49849"/>
                <a:gd name="connsiteY39" fmla="*/ 30610 h 59126"/>
                <a:gd name="connsiteX40" fmla="*/ 22303 w 49849"/>
                <a:gd name="connsiteY40" fmla="*/ 31474 h 59126"/>
                <a:gd name="connsiteX41" fmla="*/ 10611 w 49849"/>
                <a:gd name="connsiteY41" fmla="*/ 34885 h 59126"/>
                <a:gd name="connsiteX42" fmla="*/ 6442 w 49849"/>
                <a:gd name="connsiteY42" fmla="*/ 43481 h 59126"/>
                <a:gd name="connsiteX43" fmla="*/ 7484 w 49849"/>
                <a:gd name="connsiteY43" fmla="*/ 48029 h 59126"/>
                <a:gd name="connsiteX44" fmla="*/ 10203 w 49849"/>
                <a:gd name="connsiteY44" fmla="*/ 51213 h 59126"/>
                <a:gd name="connsiteX45" fmla="*/ 14100 w 49849"/>
                <a:gd name="connsiteY45" fmla="*/ 53032 h 59126"/>
                <a:gd name="connsiteX46" fmla="*/ 18632 w 49849"/>
                <a:gd name="connsiteY46" fmla="*/ 53669 h 59126"/>
                <a:gd name="connsiteX47" fmla="*/ 26200 w 49849"/>
                <a:gd name="connsiteY47" fmla="*/ 52668 h 59126"/>
                <a:gd name="connsiteX48" fmla="*/ 32771 w 49849"/>
                <a:gd name="connsiteY48" fmla="*/ 49667 h 59126"/>
                <a:gd name="connsiteX49" fmla="*/ 37303 w 49849"/>
                <a:gd name="connsiteY49" fmla="*/ 44573 h 59126"/>
                <a:gd name="connsiteX50" fmla="*/ 39025 w 49849"/>
                <a:gd name="connsiteY50" fmla="*/ 37205 h 5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9849" h="59126">
                  <a:moveTo>
                    <a:pt x="28149" y="25061"/>
                  </a:moveTo>
                  <a:lnTo>
                    <a:pt x="32681" y="24424"/>
                  </a:lnTo>
                  <a:cubicBezTo>
                    <a:pt x="34131" y="24201"/>
                    <a:pt x="35549" y="23787"/>
                    <a:pt x="36895" y="23196"/>
                  </a:cubicBezTo>
                  <a:cubicBezTo>
                    <a:pt x="37924" y="22714"/>
                    <a:pt x="38667" y="21768"/>
                    <a:pt x="38889" y="20649"/>
                  </a:cubicBezTo>
                  <a:cubicBezTo>
                    <a:pt x="39111" y="19558"/>
                    <a:pt x="39234" y="18443"/>
                    <a:pt x="39252" y="17329"/>
                  </a:cubicBezTo>
                  <a:cubicBezTo>
                    <a:pt x="39365" y="14264"/>
                    <a:pt x="38218" y="11289"/>
                    <a:pt x="36079" y="9097"/>
                  </a:cubicBezTo>
                  <a:cubicBezTo>
                    <a:pt x="33016" y="6668"/>
                    <a:pt x="29132" y="5526"/>
                    <a:pt x="25248" y="5913"/>
                  </a:cubicBezTo>
                  <a:cubicBezTo>
                    <a:pt x="23177" y="5890"/>
                    <a:pt x="21111" y="6086"/>
                    <a:pt x="19085" y="6504"/>
                  </a:cubicBezTo>
                  <a:cubicBezTo>
                    <a:pt x="17322" y="6859"/>
                    <a:pt x="15646" y="7555"/>
                    <a:pt x="14146" y="8551"/>
                  </a:cubicBezTo>
                  <a:cubicBezTo>
                    <a:pt x="12709" y="9583"/>
                    <a:pt x="11522" y="10916"/>
                    <a:pt x="10656" y="12462"/>
                  </a:cubicBezTo>
                  <a:cubicBezTo>
                    <a:pt x="9668" y="14386"/>
                    <a:pt x="9070" y="16492"/>
                    <a:pt x="8889" y="18648"/>
                  </a:cubicBezTo>
                  <a:lnTo>
                    <a:pt x="2227" y="18648"/>
                  </a:lnTo>
                  <a:cubicBezTo>
                    <a:pt x="2354" y="15660"/>
                    <a:pt x="3143" y="12740"/>
                    <a:pt x="4538" y="10097"/>
                  </a:cubicBezTo>
                  <a:cubicBezTo>
                    <a:pt x="5762" y="7819"/>
                    <a:pt x="7479" y="5845"/>
                    <a:pt x="9569" y="4321"/>
                  </a:cubicBezTo>
                  <a:cubicBezTo>
                    <a:pt x="11726" y="2779"/>
                    <a:pt x="14155" y="1670"/>
                    <a:pt x="16729" y="1047"/>
                  </a:cubicBezTo>
                  <a:cubicBezTo>
                    <a:pt x="19561" y="346"/>
                    <a:pt x="22466" y="-9"/>
                    <a:pt x="25384" y="0"/>
                  </a:cubicBezTo>
                  <a:cubicBezTo>
                    <a:pt x="28072" y="-13"/>
                    <a:pt x="30750" y="310"/>
                    <a:pt x="33360" y="956"/>
                  </a:cubicBezTo>
                  <a:cubicBezTo>
                    <a:pt x="35690" y="1488"/>
                    <a:pt x="37892" y="2475"/>
                    <a:pt x="39841" y="3866"/>
                  </a:cubicBezTo>
                  <a:cubicBezTo>
                    <a:pt x="41798" y="5240"/>
                    <a:pt x="43362" y="7105"/>
                    <a:pt x="44373" y="9279"/>
                  </a:cubicBezTo>
                  <a:cubicBezTo>
                    <a:pt x="45496" y="11889"/>
                    <a:pt x="46040" y="14714"/>
                    <a:pt x="45959" y="17556"/>
                  </a:cubicBezTo>
                  <a:lnTo>
                    <a:pt x="45959" y="48257"/>
                  </a:lnTo>
                  <a:cubicBezTo>
                    <a:pt x="45959" y="50804"/>
                    <a:pt x="46412" y="52441"/>
                    <a:pt x="47318" y="53123"/>
                  </a:cubicBezTo>
                  <a:cubicBezTo>
                    <a:pt x="48225" y="53806"/>
                    <a:pt x="50037" y="53624"/>
                    <a:pt x="52802" y="52623"/>
                  </a:cubicBezTo>
                  <a:lnTo>
                    <a:pt x="52802" y="57762"/>
                  </a:lnTo>
                  <a:lnTo>
                    <a:pt x="50581" y="58399"/>
                  </a:lnTo>
                  <a:cubicBezTo>
                    <a:pt x="49638" y="58681"/>
                    <a:pt x="48664" y="58831"/>
                    <a:pt x="47681" y="58854"/>
                  </a:cubicBezTo>
                  <a:cubicBezTo>
                    <a:pt x="46702" y="58849"/>
                    <a:pt x="45728" y="58727"/>
                    <a:pt x="44780" y="58490"/>
                  </a:cubicBezTo>
                  <a:cubicBezTo>
                    <a:pt x="43824" y="58417"/>
                    <a:pt x="42913" y="58072"/>
                    <a:pt x="42152" y="57490"/>
                  </a:cubicBezTo>
                  <a:cubicBezTo>
                    <a:pt x="41513" y="56935"/>
                    <a:pt x="40978" y="56271"/>
                    <a:pt x="40566" y="55534"/>
                  </a:cubicBezTo>
                  <a:cubicBezTo>
                    <a:pt x="40172" y="54729"/>
                    <a:pt x="39895" y="53874"/>
                    <a:pt x="39750" y="52987"/>
                  </a:cubicBezTo>
                  <a:cubicBezTo>
                    <a:pt x="39678" y="52032"/>
                    <a:pt x="39678" y="51077"/>
                    <a:pt x="39750" y="50121"/>
                  </a:cubicBezTo>
                  <a:cubicBezTo>
                    <a:pt x="37108" y="53073"/>
                    <a:pt x="33881" y="55443"/>
                    <a:pt x="30279" y="57080"/>
                  </a:cubicBezTo>
                  <a:cubicBezTo>
                    <a:pt x="26658" y="58695"/>
                    <a:pt x="22733" y="59518"/>
                    <a:pt x="18768" y="59491"/>
                  </a:cubicBezTo>
                  <a:cubicBezTo>
                    <a:pt x="16362" y="59504"/>
                    <a:pt x="13964" y="59168"/>
                    <a:pt x="11653" y="58490"/>
                  </a:cubicBezTo>
                  <a:cubicBezTo>
                    <a:pt x="9469" y="57903"/>
                    <a:pt x="7434" y="56866"/>
                    <a:pt x="5671" y="55443"/>
                  </a:cubicBezTo>
                  <a:cubicBezTo>
                    <a:pt x="3931" y="54101"/>
                    <a:pt x="2517" y="52373"/>
                    <a:pt x="1547" y="50394"/>
                  </a:cubicBezTo>
                  <a:cubicBezTo>
                    <a:pt x="464" y="48175"/>
                    <a:pt x="-66" y="45723"/>
                    <a:pt x="7" y="43254"/>
                  </a:cubicBezTo>
                  <a:cubicBezTo>
                    <a:pt x="7" y="33657"/>
                    <a:pt x="6532" y="28017"/>
                    <a:pt x="19629" y="26243"/>
                  </a:cubicBezTo>
                  <a:close/>
                  <a:moveTo>
                    <a:pt x="39116" y="28336"/>
                  </a:moveTo>
                  <a:cubicBezTo>
                    <a:pt x="36446" y="29455"/>
                    <a:pt x="33646" y="30219"/>
                    <a:pt x="30777" y="30610"/>
                  </a:cubicBezTo>
                  <a:cubicBezTo>
                    <a:pt x="27922" y="30974"/>
                    <a:pt x="25113" y="31292"/>
                    <a:pt x="22303" y="31474"/>
                  </a:cubicBezTo>
                  <a:cubicBezTo>
                    <a:pt x="18179" y="31574"/>
                    <a:pt x="14150" y="32752"/>
                    <a:pt x="10611" y="34885"/>
                  </a:cubicBezTo>
                  <a:cubicBezTo>
                    <a:pt x="7806" y="36809"/>
                    <a:pt x="6220" y="40079"/>
                    <a:pt x="6442" y="43481"/>
                  </a:cubicBezTo>
                  <a:cubicBezTo>
                    <a:pt x="6405" y="45059"/>
                    <a:pt x="6763" y="46624"/>
                    <a:pt x="7484" y="48029"/>
                  </a:cubicBezTo>
                  <a:cubicBezTo>
                    <a:pt x="8150" y="49275"/>
                    <a:pt x="9075" y="50363"/>
                    <a:pt x="10203" y="51213"/>
                  </a:cubicBezTo>
                  <a:cubicBezTo>
                    <a:pt x="11372" y="52073"/>
                    <a:pt x="12695" y="52687"/>
                    <a:pt x="14100" y="53032"/>
                  </a:cubicBezTo>
                  <a:cubicBezTo>
                    <a:pt x="15578" y="53446"/>
                    <a:pt x="17100" y="53660"/>
                    <a:pt x="18632" y="53669"/>
                  </a:cubicBezTo>
                  <a:cubicBezTo>
                    <a:pt x="21188" y="53660"/>
                    <a:pt x="23730" y="53323"/>
                    <a:pt x="26200" y="52668"/>
                  </a:cubicBezTo>
                  <a:cubicBezTo>
                    <a:pt x="28557" y="52082"/>
                    <a:pt x="30782" y="51063"/>
                    <a:pt x="32771" y="49667"/>
                  </a:cubicBezTo>
                  <a:cubicBezTo>
                    <a:pt x="34638" y="48325"/>
                    <a:pt x="36184" y="46587"/>
                    <a:pt x="37303" y="44573"/>
                  </a:cubicBezTo>
                  <a:cubicBezTo>
                    <a:pt x="38486" y="42303"/>
                    <a:pt x="39079" y="39765"/>
                    <a:pt x="39025" y="37205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2" name="Forma libre 51">
              <a:extLst>
                <a:ext uri="{FF2B5EF4-FFF2-40B4-BE49-F238E27FC236}">
                  <a16:creationId xmlns:a16="http://schemas.microsoft.com/office/drawing/2014/main" id="{FDE84432-85CD-0143-9295-2660E24DEC7C}"/>
                </a:ext>
              </a:extLst>
            </p:cNvPr>
            <p:cNvSpPr/>
            <p:nvPr/>
          </p:nvSpPr>
          <p:spPr>
            <a:xfrm>
              <a:off x="992334" y="890680"/>
              <a:ext cx="40786" cy="54578"/>
            </a:xfrm>
            <a:custGeom>
              <a:avLst/>
              <a:gdLst>
                <a:gd name="connsiteX0" fmla="*/ 6480 w 40785"/>
                <a:gd name="connsiteY0" fmla="*/ 57863 h 54578"/>
                <a:gd name="connsiteX1" fmla="*/ 0 w 40785"/>
                <a:gd name="connsiteY1" fmla="*/ 57863 h 54578"/>
                <a:gd name="connsiteX2" fmla="*/ 0 w 40785"/>
                <a:gd name="connsiteY2" fmla="*/ 1466 h 54578"/>
                <a:gd name="connsiteX3" fmla="*/ 6526 w 40785"/>
                <a:gd name="connsiteY3" fmla="*/ 1466 h 54578"/>
                <a:gd name="connsiteX4" fmla="*/ 6526 w 40785"/>
                <a:gd name="connsiteY4" fmla="*/ 9379 h 54578"/>
                <a:gd name="connsiteX5" fmla="*/ 14638 w 40785"/>
                <a:gd name="connsiteY5" fmla="*/ 2648 h 54578"/>
                <a:gd name="connsiteX6" fmla="*/ 24653 w 40785"/>
                <a:gd name="connsiteY6" fmla="*/ 10 h 54578"/>
                <a:gd name="connsiteX7" fmla="*/ 34305 w 40785"/>
                <a:gd name="connsiteY7" fmla="*/ 1829 h 54578"/>
                <a:gd name="connsiteX8" fmla="*/ 41828 w 40785"/>
                <a:gd name="connsiteY8" fmla="*/ 8060 h 54578"/>
                <a:gd name="connsiteX9" fmla="*/ 44230 w 40785"/>
                <a:gd name="connsiteY9" fmla="*/ 14337 h 54578"/>
                <a:gd name="connsiteX10" fmla="*/ 44638 w 40785"/>
                <a:gd name="connsiteY10" fmla="*/ 21023 h 54578"/>
                <a:gd name="connsiteX11" fmla="*/ 44638 w 40785"/>
                <a:gd name="connsiteY11" fmla="*/ 57954 h 54578"/>
                <a:gd name="connsiteX12" fmla="*/ 38067 w 40785"/>
                <a:gd name="connsiteY12" fmla="*/ 57954 h 54578"/>
                <a:gd name="connsiteX13" fmla="*/ 38067 w 40785"/>
                <a:gd name="connsiteY13" fmla="*/ 21159 h 54578"/>
                <a:gd name="connsiteX14" fmla="*/ 34713 w 40785"/>
                <a:gd name="connsiteY14" fmla="*/ 9698 h 54578"/>
                <a:gd name="connsiteX15" fmla="*/ 23520 w 40785"/>
                <a:gd name="connsiteY15" fmla="*/ 5923 h 54578"/>
                <a:gd name="connsiteX16" fmla="*/ 13595 w 40785"/>
                <a:gd name="connsiteY16" fmla="*/ 9379 h 54578"/>
                <a:gd name="connsiteX17" fmla="*/ 7976 w 40785"/>
                <a:gd name="connsiteY17" fmla="*/ 16975 h 54578"/>
                <a:gd name="connsiteX18" fmla="*/ 6798 w 40785"/>
                <a:gd name="connsiteY18" fmla="*/ 22205 h 54578"/>
                <a:gd name="connsiteX19" fmla="*/ 6798 w 40785"/>
                <a:gd name="connsiteY19" fmla="*/ 27663 h 54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785" h="54578">
                  <a:moveTo>
                    <a:pt x="6480" y="57863"/>
                  </a:moveTo>
                  <a:lnTo>
                    <a:pt x="0" y="57863"/>
                  </a:lnTo>
                  <a:lnTo>
                    <a:pt x="0" y="1466"/>
                  </a:lnTo>
                  <a:lnTo>
                    <a:pt x="6526" y="1466"/>
                  </a:lnTo>
                  <a:lnTo>
                    <a:pt x="6526" y="9379"/>
                  </a:lnTo>
                  <a:cubicBezTo>
                    <a:pt x="8937" y="6801"/>
                    <a:pt x="11660" y="4540"/>
                    <a:pt x="14638" y="2648"/>
                  </a:cubicBezTo>
                  <a:cubicBezTo>
                    <a:pt x="17651" y="811"/>
                    <a:pt x="21132" y="-108"/>
                    <a:pt x="24653" y="10"/>
                  </a:cubicBezTo>
                  <a:cubicBezTo>
                    <a:pt x="27961" y="-31"/>
                    <a:pt x="31242" y="588"/>
                    <a:pt x="34305" y="1829"/>
                  </a:cubicBezTo>
                  <a:cubicBezTo>
                    <a:pt x="37383" y="3094"/>
                    <a:pt x="40006" y="5268"/>
                    <a:pt x="41828" y="8060"/>
                  </a:cubicBezTo>
                  <a:cubicBezTo>
                    <a:pt x="43124" y="9925"/>
                    <a:pt x="43949" y="12081"/>
                    <a:pt x="44230" y="14337"/>
                  </a:cubicBezTo>
                  <a:cubicBezTo>
                    <a:pt x="44506" y="16556"/>
                    <a:pt x="44642" y="18790"/>
                    <a:pt x="44638" y="21023"/>
                  </a:cubicBezTo>
                  <a:lnTo>
                    <a:pt x="44638" y="57954"/>
                  </a:lnTo>
                  <a:lnTo>
                    <a:pt x="38067" y="57954"/>
                  </a:lnTo>
                  <a:lnTo>
                    <a:pt x="38067" y="21159"/>
                  </a:lnTo>
                  <a:cubicBezTo>
                    <a:pt x="38370" y="17057"/>
                    <a:pt x="37179" y="12986"/>
                    <a:pt x="34713" y="9698"/>
                  </a:cubicBezTo>
                  <a:cubicBezTo>
                    <a:pt x="31686" y="6901"/>
                    <a:pt x="27617" y="5532"/>
                    <a:pt x="23520" y="5923"/>
                  </a:cubicBezTo>
                  <a:cubicBezTo>
                    <a:pt x="19917" y="5923"/>
                    <a:pt x="16423" y="7137"/>
                    <a:pt x="13595" y="9379"/>
                  </a:cubicBezTo>
                  <a:cubicBezTo>
                    <a:pt x="11003" y="11285"/>
                    <a:pt x="9045" y="13932"/>
                    <a:pt x="7976" y="16975"/>
                  </a:cubicBezTo>
                  <a:cubicBezTo>
                    <a:pt x="7369" y="18662"/>
                    <a:pt x="6970" y="20418"/>
                    <a:pt x="6798" y="22205"/>
                  </a:cubicBezTo>
                  <a:cubicBezTo>
                    <a:pt x="6798" y="23888"/>
                    <a:pt x="6798" y="25707"/>
                    <a:pt x="6798" y="27663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3" name="Forma libre 52">
              <a:extLst>
                <a:ext uri="{FF2B5EF4-FFF2-40B4-BE49-F238E27FC236}">
                  <a16:creationId xmlns:a16="http://schemas.microsoft.com/office/drawing/2014/main" id="{21242C5C-B251-644C-AA71-17256DDC2650}"/>
                </a:ext>
              </a:extLst>
            </p:cNvPr>
            <p:cNvSpPr/>
            <p:nvPr/>
          </p:nvSpPr>
          <p:spPr>
            <a:xfrm>
              <a:off x="1051608" y="890563"/>
              <a:ext cx="49849" cy="59126"/>
            </a:xfrm>
            <a:custGeom>
              <a:avLst/>
              <a:gdLst>
                <a:gd name="connsiteX0" fmla="*/ 42418 w 49849"/>
                <a:gd name="connsiteY0" fmla="*/ 19320 h 59126"/>
                <a:gd name="connsiteX1" fmla="*/ 36436 w 49849"/>
                <a:gd name="connsiteY1" fmla="*/ 9450 h 59126"/>
                <a:gd name="connsiteX2" fmla="*/ 25696 w 49849"/>
                <a:gd name="connsiteY2" fmla="*/ 5948 h 59126"/>
                <a:gd name="connsiteX3" fmla="*/ 17131 w 49849"/>
                <a:gd name="connsiteY3" fmla="*/ 7995 h 59126"/>
                <a:gd name="connsiteX4" fmla="*/ 11240 w 49849"/>
                <a:gd name="connsiteY4" fmla="*/ 13498 h 59126"/>
                <a:gd name="connsiteX5" fmla="*/ 7886 w 49849"/>
                <a:gd name="connsiteY5" fmla="*/ 21230 h 59126"/>
                <a:gd name="connsiteX6" fmla="*/ 6799 w 49849"/>
                <a:gd name="connsiteY6" fmla="*/ 29872 h 59126"/>
                <a:gd name="connsiteX7" fmla="*/ 7841 w 49849"/>
                <a:gd name="connsiteY7" fmla="*/ 38604 h 59126"/>
                <a:gd name="connsiteX8" fmla="*/ 11149 w 49849"/>
                <a:gd name="connsiteY8" fmla="*/ 46245 h 59126"/>
                <a:gd name="connsiteX9" fmla="*/ 16995 w 49849"/>
                <a:gd name="connsiteY9" fmla="*/ 51612 h 59126"/>
                <a:gd name="connsiteX10" fmla="*/ 25696 w 49849"/>
                <a:gd name="connsiteY10" fmla="*/ 53659 h 59126"/>
                <a:gd name="connsiteX11" fmla="*/ 37343 w 49849"/>
                <a:gd name="connsiteY11" fmla="*/ 49611 h 59126"/>
                <a:gd name="connsiteX12" fmla="*/ 42962 w 49849"/>
                <a:gd name="connsiteY12" fmla="*/ 38513 h 59126"/>
                <a:gd name="connsiteX13" fmla="*/ 49896 w 49849"/>
                <a:gd name="connsiteY13" fmla="*/ 38513 h 59126"/>
                <a:gd name="connsiteX14" fmla="*/ 47131 w 49849"/>
                <a:gd name="connsiteY14" fmla="*/ 47064 h 59126"/>
                <a:gd name="connsiteX15" fmla="*/ 42237 w 49849"/>
                <a:gd name="connsiteY15" fmla="*/ 53704 h 59126"/>
                <a:gd name="connsiteX16" fmla="*/ 35122 w 49849"/>
                <a:gd name="connsiteY16" fmla="*/ 57980 h 59126"/>
                <a:gd name="connsiteX17" fmla="*/ 25696 w 49849"/>
                <a:gd name="connsiteY17" fmla="*/ 59526 h 59126"/>
                <a:gd name="connsiteX18" fmla="*/ 14095 w 49849"/>
                <a:gd name="connsiteY18" fmla="*/ 57252 h 59126"/>
                <a:gd name="connsiteX19" fmla="*/ 6028 w 49849"/>
                <a:gd name="connsiteY19" fmla="*/ 50975 h 59126"/>
                <a:gd name="connsiteX20" fmla="*/ 1497 w 49849"/>
                <a:gd name="connsiteY20" fmla="*/ 41561 h 59126"/>
                <a:gd name="connsiteX21" fmla="*/ 1 w 49849"/>
                <a:gd name="connsiteY21" fmla="*/ 29872 h 59126"/>
                <a:gd name="connsiteX22" fmla="*/ 1678 w 49849"/>
                <a:gd name="connsiteY22" fmla="*/ 18638 h 59126"/>
                <a:gd name="connsiteX23" fmla="*/ 6617 w 49849"/>
                <a:gd name="connsiteY23" fmla="*/ 9087 h 59126"/>
                <a:gd name="connsiteX24" fmla="*/ 14684 w 49849"/>
                <a:gd name="connsiteY24" fmla="*/ 2492 h 59126"/>
                <a:gd name="connsiteX25" fmla="*/ 25832 w 49849"/>
                <a:gd name="connsiteY25" fmla="*/ 36 h 59126"/>
                <a:gd name="connsiteX26" fmla="*/ 41603 w 49849"/>
                <a:gd name="connsiteY26" fmla="*/ 4584 h 59126"/>
                <a:gd name="connsiteX27" fmla="*/ 49171 w 49849"/>
                <a:gd name="connsiteY27" fmla="*/ 19184 h 5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849" h="59126">
                  <a:moveTo>
                    <a:pt x="42418" y="19320"/>
                  </a:moveTo>
                  <a:cubicBezTo>
                    <a:pt x="41471" y="15495"/>
                    <a:pt x="39382" y="12052"/>
                    <a:pt x="36436" y="9450"/>
                  </a:cubicBezTo>
                  <a:cubicBezTo>
                    <a:pt x="33382" y="7040"/>
                    <a:pt x="29575" y="5798"/>
                    <a:pt x="25696" y="5948"/>
                  </a:cubicBezTo>
                  <a:cubicBezTo>
                    <a:pt x="22710" y="5857"/>
                    <a:pt x="19755" y="6562"/>
                    <a:pt x="17131" y="7995"/>
                  </a:cubicBezTo>
                  <a:cubicBezTo>
                    <a:pt x="14770" y="9346"/>
                    <a:pt x="12749" y="11229"/>
                    <a:pt x="11240" y="13498"/>
                  </a:cubicBezTo>
                  <a:cubicBezTo>
                    <a:pt x="9699" y="15868"/>
                    <a:pt x="8566" y="18483"/>
                    <a:pt x="7886" y="21230"/>
                  </a:cubicBezTo>
                  <a:cubicBezTo>
                    <a:pt x="7170" y="24055"/>
                    <a:pt x="6803" y="26956"/>
                    <a:pt x="6799" y="29872"/>
                  </a:cubicBezTo>
                  <a:cubicBezTo>
                    <a:pt x="6799" y="32814"/>
                    <a:pt x="7148" y="35744"/>
                    <a:pt x="7841" y="38604"/>
                  </a:cubicBezTo>
                  <a:cubicBezTo>
                    <a:pt x="8475" y="41333"/>
                    <a:pt x="9595" y="43921"/>
                    <a:pt x="11149" y="46245"/>
                  </a:cubicBezTo>
                  <a:cubicBezTo>
                    <a:pt x="12649" y="48469"/>
                    <a:pt x="14652" y="50311"/>
                    <a:pt x="16995" y="51612"/>
                  </a:cubicBezTo>
                  <a:cubicBezTo>
                    <a:pt x="19669" y="53045"/>
                    <a:pt x="22669" y="53750"/>
                    <a:pt x="25696" y="53659"/>
                  </a:cubicBezTo>
                  <a:cubicBezTo>
                    <a:pt x="29951" y="53864"/>
                    <a:pt x="34125" y="52417"/>
                    <a:pt x="37343" y="49611"/>
                  </a:cubicBezTo>
                  <a:cubicBezTo>
                    <a:pt x="40420" y="46664"/>
                    <a:pt x="42405" y="42748"/>
                    <a:pt x="42962" y="38513"/>
                  </a:cubicBezTo>
                  <a:lnTo>
                    <a:pt x="49896" y="38513"/>
                  </a:lnTo>
                  <a:cubicBezTo>
                    <a:pt x="49361" y="41474"/>
                    <a:pt x="48428" y="44349"/>
                    <a:pt x="47131" y="47064"/>
                  </a:cubicBezTo>
                  <a:cubicBezTo>
                    <a:pt x="45908" y="49552"/>
                    <a:pt x="44254" y="51803"/>
                    <a:pt x="42237" y="53704"/>
                  </a:cubicBezTo>
                  <a:cubicBezTo>
                    <a:pt x="40184" y="55605"/>
                    <a:pt x="37760" y="57061"/>
                    <a:pt x="35122" y="57980"/>
                  </a:cubicBezTo>
                  <a:cubicBezTo>
                    <a:pt x="32100" y="59067"/>
                    <a:pt x="28905" y="59590"/>
                    <a:pt x="25696" y="59526"/>
                  </a:cubicBezTo>
                  <a:cubicBezTo>
                    <a:pt x="21708" y="59621"/>
                    <a:pt x="17752" y="58848"/>
                    <a:pt x="14095" y="57252"/>
                  </a:cubicBezTo>
                  <a:cubicBezTo>
                    <a:pt x="10963" y="55801"/>
                    <a:pt x="8208" y="53654"/>
                    <a:pt x="6028" y="50975"/>
                  </a:cubicBezTo>
                  <a:cubicBezTo>
                    <a:pt x="3916" y="48165"/>
                    <a:pt x="2380" y="44967"/>
                    <a:pt x="1497" y="41561"/>
                  </a:cubicBezTo>
                  <a:cubicBezTo>
                    <a:pt x="477" y="37749"/>
                    <a:pt x="-26" y="33820"/>
                    <a:pt x="1" y="29872"/>
                  </a:cubicBezTo>
                  <a:cubicBezTo>
                    <a:pt x="-22" y="26065"/>
                    <a:pt x="545" y="22272"/>
                    <a:pt x="1678" y="18638"/>
                  </a:cubicBezTo>
                  <a:cubicBezTo>
                    <a:pt x="2734" y="15181"/>
                    <a:pt x="4406" y="11943"/>
                    <a:pt x="6617" y="9087"/>
                  </a:cubicBezTo>
                  <a:cubicBezTo>
                    <a:pt x="8788" y="6317"/>
                    <a:pt x="11543" y="4065"/>
                    <a:pt x="14684" y="2492"/>
                  </a:cubicBezTo>
                  <a:cubicBezTo>
                    <a:pt x="18155" y="800"/>
                    <a:pt x="21976" y="-46"/>
                    <a:pt x="25832" y="36"/>
                  </a:cubicBezTo>
                  <a:cubicBezTo>
                    <a:pt x="31447" y="-265"/>
                    <a:pt x="37003" y="1336"/>
                    <a:pt x="41603" y="4584"/>
                  </a:cubicBezTo>
                  <a:cubicBezTo>
                    <a:pt x="45921" y="8277"/>
                    <a:pt x="48636" y="13512"/>
                    <a:pt x="49171" y="19184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4" name="Forma libre 53">
              <a:extLst>
                <a:ext uri="{FF2B5EF4-FFF2-40B4-BE49-F238E27FC236}">
                  <a16:creationId xmlns:a16="http://schemas.microsoft.com/office/drawing/2014/main" id="{939F8C09-E3DB-6D48-9DE4-763F8EEBC0C9}"/>
                </a:ext>
              </a:extLst>
            </p:cNvPr>
            <p:cNvSpPr/>
            <p:nvPr/>
          </p:nvSpPr>
          <p:spPr>
            <a:xfrm>
              <a:off x="1113240" y="890583"/>
              <a:ext cx="49849" cy="59126"/>
            </a:xfrm>
            <a:custGeom>
              <a:avLst/>
              <a:gdLst>
                <a:gd name="connsiteX0" fmla="*/ 6800 w 49849"/>
                <a:gd name="connsiteY0" fmla="*/ 31308 h 59126"/>
                <a:gd name="connsiteX1" fmla="*/ 8023 w 49849"/>
                <a:gd name="connsiteY1" fmla="*/ 39949 h 59126"/>
                <a:gd name="connsiteX2" fmla="*/ 11558 w 49849"/>
                <a:gd name="connsiteY2" fmla="*/ 47045 h 59126"/>
                <a:gd name="connsiteX3" fmla="*/ 17449 w 49849"/>
                <a:gd name="connsiteY3" fmla="*/ 51820 h 59126"/>
                <a:gd name="connsiteX4" fmla="*/ 25697 w 49849"/>
                <a:gd name="connsiteY4" fmla="*/ 53639 h 59126"/>
                <a:gd name="connsiteX5" fmla="*/ 36664 w 49849"/>
                <a:gd name="connsiteY5" fmla="*/ 50228 h 59126"/>
                <a:gd name="connsiteX6" fmla="*/ 42736 w 49849"/>
                <a:gd name="connsiteY6" fmla="*/ 40677 h 59126"/>
                <a:gd name="connsiteX7" fmla="*/ 50033 w 49849"/>
                <a:gd name="connsiteY7" fmla="*/ 40677 h 59126"/>
                <a:gd name="connsiteX8" fmla="*/ 46860 w 49849"/>
                <a:gd name="connsiteY8" fmla="*/ 48136 h 59126"/>
                <a:gd name="connsiteX9" fmla="*/ 41966 w 49849"/>
                <a:gd name="connsiteY9" fmla="*/ 54094 h 59126"/>
                <a:gd name="connsiteX10" fmla="*/ 35032 w 49849"/>
                <a:gd name="connsiteY10" fmla="*/ 58097 h 59126"/>
                <a:gd name="connsiteX11" fmla="*/ 25697 w 49849"/>
                <a:gd name="connsiteY11" fmla="*/ 59507 h 59126"/>
                <a:gd name="connsiteX12" fmla="*/ 14096 w 49849"/>
                <a:gd name="connsiteY12" fmla="*/ 57233 h 59126"/>
                <a:gd name="connsiteX13" fmla="*/ 6075 w 49849"/>
                <a:gd name="connsiteY13" fmla="*/ 50956 h 59126"/>
                <a:gd name="connsiteX14" fmla="*/ 1543 w 49849"/>
                <a:gd name="connsiteY14" fmla="*/ 41587 h 59126"/>
                <a:gd name="connsiteX15" fmla="*/ 2 w 49849"/>
                <a:gd name="connsiteY15" fmla="*/ 29989 h 59126"/>
                <a:gd name="connsiteX16" fmla="*/ 1815 w 49849"/>
                <a:gd name="connsiteY16" fmla="*/ 18345 h 59126"/>
                <a:gd name="connsiteX17" fmla="*/ 6890 w 49849"/>
                <a:gd name="connsiteY17" fmla="*/ 8794 h 59126"/>
                <a:gd name="connsiteX18" fmla="*/ 15002 w 49849"/>
                <a:gd name="connsiteY18" fmla="*/ 2381 h 59126"/>
                <a:gd name="connsiteX19" fmla="*/ 25833 w 49849"/>
                <a:gd name="connsiteY19" fmla="*/ 16 h 59126"/>
                <a:gd name="connsiteX20" fmla="*/ 43960 w 49849"/>
                <a:gd name="connsiteY20" fmla="*/ 8021 h 59126"/>
                <a:gd name="connsiteX21" fmla="*/ 50440 w 49849"/>
                <a:gd name="connsiteY21" fmla="*/ 31308 h 59126"/>
                <a:gd name="connsiteX22" fmla="*/ 43507 w 49849"/>
                <a:gd name="connsiteY22" fmla="*/ 25850 h 59126"/>
                <a:gd name="connsiteX23" fmla="*/ 42374 w 49849"/>
                <a:gd name="connsiteY23" fmla="*/ 18073 h 59126"/>
                <a:gd name="connsiteX24" fmla="*/ 39020 w 49849"/>
                <a:gd name="connsiteY24" fmla="*/ 11751 h 59126"/>
                <a:gd name="connsiteX25" fmla="*/ 33401 w 49849"/>
                <a:gd name="connsiteY25" fmla="*/ 7475 h 59126"/>
                <a:gd name="connsiteX26" fmla="*/ 25697 w 49849"/>
                <a:gd name="connsiteY26" fmla="*/ 5929 h 59126"/>
                <a:gd name="connsiteX27" fmla="*/ 18038 w 49849"/>
                <a:gd name="connsiteY27" fmla="*/ 7521 h 59126"/>
                <a:gd name="connsiteX28" fmla="*/ 12419 w 49849"/>
                <a:gd name="connsiteY28" fmla="*/ 12069 h 59126"/>
                <a:gd name="connsiteX29" fmla="*/ 8658 w 49849"/>
                <a:gd name="connsiteY29" fmla="*/ 18391 h 59126"/>
                <a:gd name="connsiteX30" fmla="*/ 6800 w 49849"/>
                <a:gd name="connsiteY30" fmla="*/ 26032 h 5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849" h="59126">
                  <a:moveTo>
                    <a:pt x="6800" y="31308"/>
                  </a:moveTo>
                  <a:cubicBezTo>
                    <a:pt x="6781" y="34232"/>
                    <a:pt x="7194" y="37143"/>
                    <a:pt x="8023" y="39949"/>
                  </a:cubicBezTo>
                  <a:cubicBezTo>
                    <a:pt x="8716" y="42528"/>
                    <a:pt x="9917" y="44939"/>
                    <a:pt x="11558" y="47045"/>
                  </a:cubicBezTo>
                  <a:cubicBezTo>
                    <a:pt x="13126" y="49073"/>
                    <a:pt x="15143" y="50710"/>
                    <a:pt x="17449" y="51820"/>
                  </a:cubicBezTo>
                  <a:cubicBezTo>
                    <a:pt x="20023" y="53057"/>
                    <a:pt x="22847" y="53676"/>
                    <a:pt x="25697" y="53639"/>
                  </a:cubicBezTo>
                  <a:cubicBezTo>
                    <a:pt x="29626" y="53744"/>
                    <a:pt x="33483" y="52548"/>
                    <a:pt x="36664" y="50228"/>
                  </a:cubicBezTo>
                  <a:cubicBezTo>
                    <a:pt x="39777" y="47891"/>
                    <a:pt x="41934" y="44498"/>
                    <a:pt x="42736" y="40677"/>
                  </a:cubicBezTo>
                  <a:lnTo>
                    <a:pt x="50033" y="40677"/>
                  </a:lnTo>
                  <a:cubicBezTo>
                    <a:pt x="49258" y="43274"/>
                    <a:pt x="48193" y="45776"/>
                    <a:pt x="46860" y="48136"/>
                  </a:cubicBezTo>
                  <a:cubicBezTo>
                    <a:pt x="45587" y="50392"/>
                    <a:pt x="43933" y="52411"/>
                    <a:pt x="41966" y="54094"/>
                  </a:cubicBezTo>
                  <a:cubicBezTo>
                    <a:pt x="39931" y="55864"/>
                    <a:pt x="37579" y="57223"/>
                    <a:pt x="35032" y="58097"/>
                  </a:cubicBezTo>
                  <a:cubicBezTo>
                    <a:pt x="32023" y="59097"/>
                    <a:pt x="28865" y="59570"/>
                    <a:pt x="25697" y="59507"/>
                  </a:cubicBezTo>
                  <a:cubicBezTo>
                    <a:pt x="21714" y="59598"/>
                    <a:pt x="17753" y="58824"/>
                    <a:pt x="14096" y="57233"/>
                  </a:cubicBezTo>
                  <a:cubicBezTo>
                    <a:pt x="10973" y="55795"/>
                    <a:pt x="8227" y="53649"/>
                    <a:pt x="6075" y="50956"/>
                  </a:cubicBezTo>
                  <a:cubicBezTo>
                    <a:pt x="3940" y="48177"/>
                    <a:pt x="2395" y="44989"/>
                    <a:pt x="1543" y="41587"/>
                  </a:cubicBezTo>
                  <a:cubicBezTo>
                    <a:pt x="482" y="37812"/>
                    <a:pt x="-34" y="33909"/>
                    <a:pt x="2" y="29989"/>
                  </a:cubicBezTo>
                  <a:cubicBezTo>
                    <a:pt x="-39" y="26032"/>
                    <a:pt x="577" y="22098"/>
                    <a:pt x="1815" y="18345"/>
                  </a:cubicBezTo>
                  <a:cubicBezTo>
                    <a:pt x="2916" y="14880"/>
                    <a:pt x="4633" y="11641"/>
                    <a:pt x="6890" y="8794"/>
                  </a:cubicBezTo>
                  <a:cubicBezTo>
                    <a:pt x="9084" y="6074"/>
                    <a:pt x="11857" y="3882"/>
                    <a:pt x="15002" y="2381"/>
                  </a:cubicBezTo>
                  <a:cubicBezTo>
                    <a:pt x="18378" y="753"/>
                    <a:pt x="22090" y="-56"/>
                    <a:pt x="25833" y="16"/>
                  </a:cubicBezTo>
                  <a:cubicBezTo>
                    <a:pt x="32780" y="-247"/>
                    <a:pt x="39460" y="2704"/>
                    <a:pt x="43960" y="8021"/>
                  </a:cubicBezTo>
                  <a:cubicBezTo>
                    <a:pt x="48786" y="14775"/>
                    <a:pt x="51079" y="23021"/>
                    <a:pt x="50440" y="31308"/>
                  </a:cubicBezTo>
                  <a:close/>
                  <a:moveTo>
                    <a:pt x="43507" y="25850"/>
                  </a:moveTo>
                  <a:cubicBezTo>
                    <a:pt x="43534" y="23212"/>
                    <a:pt x="43153" y="20592"/>
                    <a:pt x="42374" y="18073"/>
                  </a:cubicBezTo>
                  <a:cubicBezTo>
                    <a:pt x="41672" y="15767"/>
                    <a:pt x="40534" y="13620"/>
                    <a:pt x="39020" y="11751"/>
                  </a:cubicBezTo>
                  <a:cubicBezTo>
                    <a:pt x="37484" y="9927"/>
                    <a:pt x="35567" y="8467"/>
                    <a:pt x="33401" y="7475"/>
                  </a:cubicBezTo>
                  <a:cubicBezTo>
                    <a:pt x="30977" y="6402"/>
                    <a:pt x="28348" y="5874"/>
                    <a:pt x="25697" y="5929"/>
                  </a:cubicBezTo>
                  <a:cubicBezTo>
                    <a:pt x="23055" y="5861"/>
                    <a:pt x="20436" y="6406"/>
                    <a:pt x="18038" y="7521"/>
                  </a:cubicBezTo>
                  <a:cubicBezTo>
                    <a:pt x="15872" y="8631"/>
                    <a:pt x="13960" y="10181"/>
                    <a:pt x="12419" y="12069"/>
                  </a:cubicBezTo>
                  <a:cubicBezTo>
                    <a:pt x="10819" y="13947"/>
                    <a:pt x="9550" y="16085"/>
                    <a:pt x="8658" y="18391"/>
                  </a:cubicBezTo>
                  <a:cubicBezTo>
                    <a:pt x="7710" y="20847"/>
                    <a:pt x="7085" y="23417"/>
                    <a:pt x="6800" y="26032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5" name="Forma libre 54">
              <a:extLst>
                <a:ext uri="{FF2B5EF4-FFF2-40B4-BE49-F238E27FC236}">
                  <a16:creationId xmlns:a16="http://schemas.microsoft.com/office/drawing/2014/main" id="{53C4412C-1E8C-E046-AA56-9B0C107003DC}"/>
                </a:ext>
              </a:extLst>
            </p:cNvPr>
            <p:cNvSpPr/>
            <p:nvPr/>
          </p:nvSpPr>
          <p:spPr>
            <a:xfrm>
              <a:off x="425410" y="988794"/>
              <a:ext cx="81572" cy="90964"/>
            </a:xfrm>
            <a:custGeom>
              <a:avLst/>
              <a:gdLst>
                <a:gd name="connsiteX0" fmla="*/ 34532 w 81571"/>
                <a:gd name="connsiteY0" fmla="*/ 0 h 90963"/>
                <a:gd name="connsiteX1" fmla="*/ 48581 w 81571"/>
                <a:gd name="connsiteY1" fmla="*/ 0 h 90963"/>
                <a:gd name="connsiteX2" fmla="*/ 82025 w 81571"/>
                <a:gd name="connsiteY2" fmla="*/ 92055 h 90963"/>
                <a:gd name="connsiteX3" fmla="*/ 68430 w 81571"/>
                <a:gd name="connsiteY3" fmla="*/ 92055 h 90963"/>
                <a:gd name="connsiteX4" fmla="*/ 58868 w 81571"/>
                <a:gd name="connsiteY4" fmla="*/ 64448 h 90963"/>
                <a:gd name="connsiteX5" fmla="*/ 22704 w 81571"/>
                <a:gd name="connsiteY5" fmla="*/ 64448 h 90963"/>
                <a:gd name="connsiteX6" fmla="*/ 12734 w 81571"/>
                <a:gd name="connsiteY6" fmla="*/ 92055 h 90963"/>
                <a:gd name="connsiteX7" fmla="*/ 0 w 81571"/>
                <a:gd name="connsiteY7" fmla="*/ 92055 h 90963"/>
                <a:gd name="connsiteX8" fmla="*/ 55152 w 81571"/>
                <a:gd name="connsiteY8" fmla="*/ 54305 h 90963"/>
                <a:gd name="connsiteX9" fmla="*/ 41239 w 81571"/>
                <a:gd name="connsiteY9" fmla="*/ 13645 h 90963"/>
                <a:gd name="connsiteX10" fmla="*/ 26601 w 81571"/>
                <a:gd name="connsiteY10" fmla="*/ 54305 h 90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571" h="90963">
                  <a:moveTo>
                    <a:pt x="34532" y="0"/>
                  </a:moveTo>
                  <a:lnTo>
                    <a:pt x="48581" y="0"/>
                  </a:lnTo>
                  <a:lnTo>
                    <a:pt x="82025" y="92055"/>
                  </a:lnTo>
                  <a:lnTo>
                    <a:pt x="68430" y="92055"/>
                  </a:lnTo>
                  <a:lnTo>
                    <a:pt x="58868" y="64448"/>
                  </a:lnTo>
                  <a:lnTo>
                    <a:pt x="22704" y="64448"/>
                  </a:lnTo>
                  <a:lnTo>
                    <a:pt x="12734" y="92055"/>
                  </a:lnTo>
                  <a:lnTo>
                    <a:pt x="0" y="92055"/>
                  </a:lnTo>
                  <a:close/>
                  <a:moveTo>
                    <a:pt x="55152" y="54305"/>
                  </a:moveTo>
                  <a:lnTo>
                    <a:pt x="41239" y="13645"/>
                  </a:lnTo>
                  <a:lnTo>
                    <a:pt x="26601" y="54305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6" name="Forma libre 55">
              <a:extLst>
                <a:ext uri="{FF2B5EF4-FFF2-40B4-BE49-F238E27FC236}">
                  <a16:creationId xmlns:a16="http://schemas.microsoft.com/office/drawing/2014/main" id="{C04DE0CB-8B32-C247-BCE2-DF6C451FE4C0}"/>
                </a:ext>
              </a:extLst>
            </p:cNvPr>
            <p:cNvSpPr/>
            <p:nvPr/>
          </p:nvSpPr>
          <p:spPr>
            <a:xfrm>
              <a:off x="524384" y="988759"/>
              <a:ext cx="67976" cy="90964"/>
            </a:xfrm>
            <a:custGeom>
              <a:avLst/>
              <a:gdLst>
                <a:gd name="connsiteX0" fmla="*/ 0 w 67976"/>
                <a:gd name="connsiteY0" fmla="*/ 35 h 90963"/>
                <a:gd name="connsiteX1" fmla="*/ 41058 w 67976"/>
                <a:gd name="connsiteY1" fmla="*/ 35 h 90963"/>
                <a:gd name="connsiteX2" fmla="*/ 60680 w 67976"/>
                <a:gd name="connsiteY2" fmla="*/ 6812 h 90963"/>
                <a:gd name="connsiteX3" fmla="*/ 68158 w 67976"/>
                <a:gd name="connsiteY3" fmla="*/ 26278 h 90963"/>
                <a:gd name="connsiteX4" fmla="*/ 61496 w 67976"/>
                <a:gd name="connsiteY4" fmla="*/ 45062 h 90963"/>
                <a:gd name="connsiteX5" fmla="*/ 41058 w 67976"/>
                <a:gd name="connsiteY5" fmla="*/ 53021 h 90963"/>
                <a:gd name="connsiteX6" fmla="*/ 12417 w 67976"/>
                <a:gd name="connsiteY6" fmla="*/ 53021 h 90963"/>
                <a:gd name="connsiteX7" fmla="*/ 12417 w 67976"/>
                <a:gd name="connsiteY7" fmla="*/ 91954 h 90963"/>
                <a:gd name="connsiteX8" fmla="*/ 0 w 67976"/>
                <a:gd name="connsiteY8" fmla="*/ 91954 h 90963"/>
                <a:gd name="connsiteX9" fmla="*/ 48173 w 67976"/>
                <a:gd name="connsiteY9" fmla="*/ 12679 h 90963"/>
                <a:gd name="connsiteX10" fmla="*/ 36979 w 67976"/>
                <a:gd name="connsiteY10" fmla="*/ 10769 h 90963"/>
                <a:gd name="connsiteX11" fmla="*/ 12417 w 67976"/>
                <a:gd name="connsiteY11" fmla="*/ 10769 h 90963"/>
                <a:gd name="connsiteX12" fmla="*/ 12417 w 67976"/>
                <a:gd name="connsiteY12" fmla="*/ 42606 h 90963"/>
                <a:gd name="connsiteX13" fmla="*/ 36979 w 67976"/>
                <a:gd name="connsiteY13" fmla="*/ 42606 h 90963"/>
                <a:gd name="connsiteX14" fmla="*/ 50575 w 67976"/>
                <a:gd name="connsiteY14" fmla="*/ 39013 h 90963"/>
                <a:gd name="connsiteX15" fmla="*/ 55559 w 67976"/>
                <a:gd name="connsiteY15" fmla="*/ 26460 h 90963"/>
                <a:gd name="connsiteX16" fmla="*/ 48173 w 67976"/>
                <a:gd name="connsiteY16" fmla="*/ 12679 h 90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7976" h="90963">
                  <a:moveTo>
                    <a:pt x="0" y="35"/>
                  </a:moveTo>
                  <a:lnTo>
                    <a:pt x="41058" y="35"/>
                  </a:lnTo>
                  <a:cubicBezTo>
                    <a:pt x="48224" y="-324"/>
                    <a:pt x="55253" y="2100"/>
                    <a:pt x="60680" y="6812"/>
                  </a:cubicBezTo>
                  <a:cubicBezTo>
                    <a:pt x="65858" y="11910"/>
                    <a:pt x="68585" y="19010"/>
                    <a:pt x="68158" y="26278"/>
                  </a:cubicBezTo>
                  <a:cubicBezTo>
                    <a:pt x="68266" y="33141"/>
                    <a:pt x="65900" y="39813"/>
                    <a:pt x="61496" y="45062"/>
                  </a:cubicBezTo>
                  <a:cubicBezTo>
                    <a:pt x="56251" y="50706"/>
                    <a:pt x="48724" y="53640"/>
                    <a:pt x="41058" y="53021"/>
                  </a:cubicBezTo>
                  <a:lnTo>
                    <a:pt x="12417" y="53021"/>
                  </a:lnTo>
                  <a:lnTo>
                    <a:pt x="12417" y="91954"/>
                  </a:lnTo>
                  <a:lnTo>
                    <a:pt x="0" y="91954"/>
                  </a:lnTo>
                  <a:close/>
                  <a:moveTo>
                    <a:pt x="48173" y="12679"/>
                  </a:moveTo>
                  <a:cubicBezTo>
                    <a:pt x="44619" y="11251"/>
                    <a:pt x="40803" y="10600"/>
                    <a:pt x="36979" y="10769"/>
                  </a:cubicBezTo>
                  <a:lnTo>
                    <a:pt x="12417" y="10769"/>
                  </a:lnTo>
                  <a:lnTo>
                    <a:pt x="12417" y="42606"/>
                  </a:lnTo>
                  <a:lnTo>
                    <a:pt x="36979" y="42606"/>
                  </a:lnTo>
                  <a:cubicBezTo>
                    <a:pt x="41773" y="42856"/>
                    <a:pt x="46526" y="41601"/>
                    <a:pt x="50575" y="39013"/>
                  </a:cubicBezTo>
                  <a:cubicBezTo>
                    <a:pt x="54249" y="35947"/>
                    <a:pt x="56125" y="31222"/>
                    <a:pt x="55559" y="26460"/>
                  </a:cubicBezTo>
                  <a:cubicBezTo>
                    <a:pt x="56227" y="20766"/>
                    <a:pt x="53276" y="15258"/>
                    <a:pt x="48173" y="12679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7" name="Forma libre 56">
              <a:extLst>
                <a:ext uri="{FF2B5EF4-FFF2-40B4-BE49-F238E27FC236}">
                  <a16:creationId xmlns:a16="http://schemas.microsoft.com/office/drawing/2014/main" id="{82E5ED40-70E5-C141-84D9-9C402D6979A9}"/>
                </a:ext>
              </a:extLst>
            </p:cNvPr>
            <p:cNvSpPr/>
            <p:nvPr/>
          </p:nvSpPr>
          <p:spPr>
            <a:xfrm>
              <a:off x="614385" y="988757"/>
              <a:ext cx="67976" cy="90964"/>
            </a:xfrm>
            <a:custGeom>
              <a:avLst/>
              <a:gdLst>
                <a:gd name="connsiteX0" fmla="*/ 0 w 67976"/>
                <a:gd name="connsiteY0" fmla="*/ 37 h 90963"/>
                <a:gd name="connsiteX1" fmla="*/ 41058 w 67976"/>
                <a:gd name="connsiteY1" fmla="*/ 37 h 90963"/>
                <a:gd name="connsiteX2" fmla="*/ 60726 w 67976"/>
                <a:gd name="connsiteY2" fmla="*/ 6814 h 90963"/>
                <a:gd name="connsiteX3" fmla="*/ 68248 w 67976"/>
                <a:gd name="connsiteY3" fmla="*/ 26280 h 90963"/>
                <a:gd name="connsiteX4" fmla="*/ 61541 w 67976"/>
                <a:gd name="connsiteY4" fmla="*/ 45065 h 90963"/>
                <a:gd name="connsiteX5" fmla="*/ 41103 w 67976"/>
                <a:gd name="connsiteY5" fmla="*/ 53024 h 90963"/>
                <a:gd name="connsiteX6" fmla="*/ 12417 w 67976"/>
                <a:gd name="connsiteY6" fmla="*/ 53024 h 90963"/>
                <a:gd name="connsiteX7" fmla="*/ 12417 w 67976"/>
                <a:gd name="connsiteY7" fmla="*/ 91956 h 90963"/>
                <a:gd name="connsiteX8" fmla="*/ 0 w 67976"/>
                <a:gd name="connsiteY8" fmla="*/ 91956 h 90963"/>
                <a:gd name="connsiteX9" fmla="*/ 48173 w 67976"/>
                <a:gd name="connsiteY9" fmla="*/ 12681 h 90963"/>
                <a:gd name="connsiteX10" fmla="*/ 36979 w 67976"/>
                <a:gd name="connsiteY10" fmla="*/ 10771 h 90963"/>
                <a:gd name="connsiteX11" fmla="*/ 12417 w 67976"/>
                <a:gd name="connsiteY11" fmla="*/ 10771 h 90963"/>
                <a:gd name="connsiteX12" fmla="*/ 12417 w 67976"/>
                <a:gd name="connsiteY12" fmla="*/ 42608 h 90963"/>
                <a:gd name="connsiteX13" fmla="*/ 36979 w 67976"/>
                <a:gd name="connsiteY13" fmla="*/ 42608 h 90963"/>
                <a:gd name="connsiteX14" fmla="*/ 50575 w 67976"/>
                <a:gd name="connsiteY14" fmla="*/ 39015 h 90963"/>
                <a:gd name="connsiteX15" fmla="*/ 55786 w 67976"/>
                <a:gd name="connsiteY15" fmla="*/ 26417 h 90963"/>
                <a:gd name="connsiteX16" fmla="*/ 48173 w 67976"/>
                <a:gd name="connsiteY16" fmla="*/ 12681 h 90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7976" h="90963">
                  <a:moveTo>
                    <a:pt x="0" y="37"/>
                  </a:moveTo>
                  <a:lnTo>
                    <a:pt x="41058" y="37"/>
                  </a:lnTo>
                  <a:cubicBezTo>
                    <a:pt x="48239" y="-336"/>
                    <a:pt x="55286" y="2093"/>
                    <a:pt x="60726" y="6814"/>
                  </a:cubicBezTo>
                  <a:cubicBezTo>
                    <a:pt x="65920" y="11908"/>
                    <a:pt x="68663" y="19003"/>
                    <a:pt x="68248" y="26280"/>
                  </a:cubicBezTo>
                  <a:cubicBezTo>
                    <a:pt x="68344" y="33148"/>
                    <a:pt x="65962" y="39820"/>
                    <a:pt x="61541" y="45065"/>
                  </a:cubicBezTo>
                  <a:cubicBezTo>
                    <a:pt x="56304" y="50722"/>
                    <a:pt x="48771" y="53656"/>
                    <a:pt x="41103" y="53024"/>
                  </a:cubicBezTo>
                  <a:lnTo>
                    <a:pt x="12417" y="53024"/>
                  </a:lnTo>
                  <a:lnTo>
                    <a:pt x="12417" y="91956"/>
                  </a:lnTo>
                  <a:lnTo>
                    <a:pt x="0" y="91956"/>
                  </a:lnTo>
                  <a:close/>
                  <a:moveTo>
                    <a:pt x="48173" y="12681"/>
                  </a:moveTo>
                  <a:cubicBezTo>
                    <a:pt x="44619" y="11253"/>
                    <a:pt x="40803" y="10603"/>
                    <a:pt x="36979" y="10771"/>
                  </a:cubicBezTo>
                  <a:lnTo>
                    <a:pt x="12417" y="10771"/>
                  </a:lnTo>
                  <a:lnTo>
                    <a:pt x="12417" y="42608"/>
                  </a:lnTo>
                  <a:lnTo>
                    <a:pt x="36979" y="42608"/>
                  </a:lnTo>
                  <a:cubicBezTo>
                    <a:pt x="41773" y="42859"/>
                    <a:pt x="46526" y="41603"/>
                    <a:pt x="50575" y="39015"/>
                  </a:cubicBezTo>
                  <a:cubicBezTo>
                    <a:pt x="54341" y="35986"/>
                    <a:pt x="56306" y="31233"/>
                    <a:pt x="55786" y="26417"/>
                  </a:cubicBezTo>
                  <a:cubicBezTo>
                    <a:pt x="56395" y="20682"/>
                    <a:pt x="53347" y="15187"/>
                    <a:pt x="48173" y="12681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8" name="Forma libre 57">
              <a:extLst>
                <a:ext uri="{FF2B5EF4-FFF2-40B4-BE49-F238E27FC236}">
                  <a16:creationId xmlns:a16="http://schemas.microsoft.com/office/drawing/2014/main" id="{C6ECA062-9D3D-3D42-B257-230858A06915}"/>
                </a:ext>
              </a:extLst>
            </p:cNvPr>
            <p:cNvSpPr/>
            <p:nvPr/>
          </p:nvSpPr>
          <p:spPr>
            <a:xfrm>
              <a:off x="704703" y="988773"/>
              <a:ext cx="72508" cy="90964"/>
            </a:xfrm>
            <a:custGeom>
              <a:avLst/>
              <a:gdLst>
                <a:gd name="connsiteX0" fmla="*/ 0 w 72508"/>
                <a:gd name="connsiteY0" fmla="*/ 21 h 90963"/>
                <a:gd name="connsiteX1" fmla="*/ 41692 w 72508"/>
                <a:gd name="connsiteY1" fmla="*/ 21 h 90963"/>
                <a:gd name="connsiteX2" fmla="*/ 58686 w 72508"/>
                <a:gd name="connsiteY2" fmla="*/ 3069 h 90963"/>
                <a:gd name="connsiteX3" fmla="*/ 71375 w 72508"/>
                <a:gd name="connsiteY3" fmla="*/ 24809 h 90963"/>
                <a:gd name="connsiteX4" fmla="*/ 67976 w 72508"/>
                <a:gd name="connsiteY4" fmla="*/ 38454 h 90963"/>
                <a:gd name="connsiteX5" fmla="*/ 58460 w 72508"/>
                <a:gd name="connsiteY5" fmla="*/ 46913 h 90963"/>
                <a:gd name="connsiteX6" fmla="*/ 66526 w 72508"/>
                <a:gd name="connsiteY6" fmla="*/ 52689 h 90963"/>
                <a:gd name="connsiteX7" fmla="*/ 69563 w 72508"/>
                <a:gd name="connsiteY7" fmla="*/ 64287 h 90963"/>
                <a:gd name="connsiteX8" fmla="*/ 70016 w 72508"/>
                <a:gd name="connsiteY8" fmla="*/ 76613 h 90963"/>
                <a:gd name="connsiteX9" fmla="*/ 70877 w 72508"/>
                <a:gd name="connsiteY9" fmla="*/ 84436 h 90963"/>
                <a:gd name="connsiteX10" fmla="*/ 74865 w 72508"/>
                <a:gd name="connsiteY10" fmla="*/ 90076 h 90963"/>
                <a:gd name="connsiteX11" fmla="*/ 74865 w 72508"/>
                <a:gd name="connsiteY11" fmla="*/ 92168 h 90963"/>
                <a:gd name="connsiteX12" fmla="*/ 59638 w 72508"/>
                <a:gd name="connsiteY12" fmla="*/ 92168 h 90963"/>
                <a:gd name="connsiteX13" fmla="*/ 58641 w 72508"/>
                <a:gd name="connsiteY13" fmla="*/ 89075 h 90963"/>
                <a:gd name="connsiteX14" fmla="*/ 58007 w 72508"/>
                <a:gd name="connsiteY14" fmla="*/ 81798 h 90963"/>
                <a:gd name="connsiteX15" fmla="*/ 57282 w 72508"/>
                <a:gd name="connsiteY15" fmla="*/ 66470 h 90963"/>
                <a:gd name="connsiteX16" fmla="*/ 50756 w 72508"/>
                <a:gd name="connsiteY16" fmla="*/ 54372 h 90963"/>
                <a:gd name="connsiteX17" fmla="*/ 39925 w 72508"/>
                <a:gd name="connsiteY17" fmla="*/ 52689 h 90963"/>
                <a:gd name="connsiteX18" fmla="*/ 12417 w 72508"/>
                <a:gd name="connsiteY18" fmla="*/ 52689 h 90963"/>
                <a:gd name="connsiteX19" fmla="*/ 12417 w 72508"/>
                <a:gd name="connsiteY19" fmla="*/ 92168 h 90963"/>
                <a:gd name="connsiteX20" fmla="*/ 0 w 72508"/>
                <a:gd name="connsiteY20" fmla="*/ 92168 h 90963"/>
                <a:gd name="connsiteX21" fmla="*/ 40378 w 72508"/>
                <a:gd name="connsiteY21" fmla="*/ 42183 h 90963"/>
                <a:gd name="connsiteX22" fmla="*/ 53973 w 72508"/>
                <a:gd name="connsiteY22" fmla="*/ 38681 h 90963"/>
                <a:gd name="connsiteX23" fmla="*/ 58958 w 72508"/>
                <a:gd name="connsiteY23" fmla="*/ 26037 h 90963"/>
                <a:gd name="connsiteX24" fmla="*/ 51979 w 72508"/>
                <a:gd name="connsiteY24" fmla="*/ 12620 h 90963"/>
                <a:gd name="connsiteX25" fmla="*/ 42055 w 72508"/>
                <a:gd name="connsiteY25" fmla="*/ 10755 h 90963"/>
                <a:gd name="connsiteX26" fmla="*/ 12417 w 72508"/>
                <a:gd name="connsiteY26" fmla="*/ 10755 h 90963"/>
                <a:gd name="connsiteX27" fmla="*/ 12417 w 72508"/>
                <a:gd name="connsiteY27" fmla="*/ 42183 h 90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2508" h="90963">
                  <a:moveTo>
                    <a:pt x="0" y="21"/>
                  </a:moveTo>
                  <a:lnTo>
                    <a:pt x="41692" y="21"/>
                  </a:lnTo>
                  <a:cubicBezTo>
                    <a:pt x="47507" y="-165"/>
                    <a:pt x="53296" y="872"/>
                    <a:pt x="58686" y="3069"/>
                  </a:cubicBezTo>
                  <a:cubicBezTo>
                    <a:pt x="67086" y="6875"/>
                    <a:pt x="72173" y="15594"/>
                    <a:pt x="71375" y="24809"/>
                  </a:cubicBezTo>
                  <a:cubicBezTo>
                    <a:pt x="71600" y="29594"/>
                    <a:pt x="70418" y="34337"/>
                    <a:pt x="67976" y="38454"/>
                  </a:cubicBezTo>
                  <a:cubicBezTo>
                    <a:pt x="65596" y="42060"/>
                    <a:pt x="62315" y="44976"/>
                    <a:pt x="58460" y="46913"/>
                  </a:cubicBezTo>
                  <a:cubicBezTo>
                    <a:pt x="61623" y="48064"/>
                    <a:pt x="64413" y="50061"/>
                    <a:pt x="66526" y="52689"/>
                  </a:cubicBezTo>
                  <a:cubicBezTo>
                    <a:pt x="68652" y="56173"/>
                    <a:pt x="69708" y="60208"/>
                    <a:pt x="69563" y="64287"/>
                  </a:cubicBezTo>
                  <a:lnTo>
                    <a:pt x="70016" y="76613"/>
                  </a:lnTo>
                  <a:cubicBezTo>
                    <a:pt x="70016" y="79246"/>
                    <a:pt x="70304" y="81866"/>
                    <a:pt x="70877" y="84436"/>
                  </a:cubicBezTo>
                  <a:cubicBezTo>
                    <a:pt x="71220" y="86851"/>
                    <a:pt x="72705" y="88952"/>
                    <a:pt x="74865" y="90076"/>
                  </a:cubicBezTo>
                  <a:lnTo>
                    <a:pt x="74865" y="92168"/>
                  </a:lnTo>
                  <a:lnTo>
                    <a:pt x="59638" y="92168"/>
                  </a:lnTo>
                  <a:cubicBezTo>
                    <a:pt x="59158" y="91190"/>
                    <a:pt x="58822" y="90148"/>
                    <a:pt x="58641" y="89075"/>
                  </a:cubicBezTo>
                  <a:cubicBezTo>
                    <a:pt x="58274" y="86664"/>
                    <a:pt x="58061" y="84236"/>
                    <a:pt x="58007" y="81798"/>
                  </a:cubicBezTo>
                  <a:lnTo>
                    <a:pt x="57282" y="66470"/>
                  </a:lnTo>
                  <a:cubicBezTo>
                    <a:pt x="57583" y="61517"/>
                    <a:pt x="55052" y="56828"/>
                    <a:pt x="50756" y="54372"/>
                  </a:cubicBezTo>
                  <a:cubicBezTo>
                    <a:pt x="47307" y="53040"/>
                    <a:pt x="43613" y="52467"/>
                    <a:pt x="39925" y="52689"/>
                  </a:cubicBezTo>
                  <a:lnTo>
                    <a:pt x="12417" y="52689"/>
                  </a:lnTo>
                  <a:lnTo>
                    <a:pt x="12417" y="92168"/>
                  </a:lnTo>
                  <a:lnTo>
                    <a:pt x="0" y="92168"/>
                  </a:lnTo>
                  <a:close/>
                  <a:moveTo>
                    <a:pt x="40378" y="42183"/>
                  </a:moveTo>
                  <a:cubicBezTo>
                    <a:pt x="45165" y="42488"/>
                    <a:pt x="49925" y="41264"/>
                    <a:pt x="53973" y="38681"/>
                  </a:cubicBezTo>
                  <a:cubicBezTo>
                    <a:pt x="57635" y="35565"/>
                    <a:pt x="59506" y="30822"/>
                    <a:pt x="58958" y="26037"/>
                  </a:cubicBezTo>
                  <a:cubicBezTo>
                    <a:pt x="59543" y="20561"/>
                    <a:pt x="56791" y="15267"/>
                    <a:pt x="51979" y="12620"/>
                  </a:cubicBezTo>
                  <a:cubicBezTo>
                    <a:pt x="48861" y="11233"/>
                    <a:pt x="45463" y="10591"/>
                    <a:pt x="42055" y="10755"/>
                  </a:cubicBezTo>
                  <a:lnTo>
                    <a:pt x="12417" y="10755"/>
                  </a:lnTo>
                  <a:lnTo>
                    <a:pt x="12417" y="42183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59" name="Forma libre 58">
              <a:extLst>
                <a:ext uri="{FF2B5EF4-FFF2-40B4-BE49-F238E27FC236}">
                  <a16:creationId xmlns:a16="http://schemas.microsoft.com/office/drawing/2014/main" id="{5C09E099-217C-A945-8759-6FB2F4AA34E3}"/>
                </a:ext>
              </a:extLst>
            </p:cNvPr>
            <p:cNvSpPr/>
            <p:nvPr/>
          </p:nvSpPr>
          <p:spPr>
            <a:xfrm>
              <a:off x="795617" y="986403"/>
              <a:ext cx="86104" cy="95512"/>
            </a:xfrm>
            <a:custGeom>
              <a:avLst/>
              <a:gdLst>
                <a:gd name="connsiteX0" fmla="*/ 80205 w 86103"/>
                <a:gd name="connsiteY0" fmla="*/ 15535 h 95511"/>
                <a:gd name="connsiteX1" fmla="*/ 89269 w 86103"/>
                <a:gd name="connsiteY1" fmla="*/ 46827 h 95511"/>
                <a:gd name="connsiteX2" fmla="*/ 78846 w 86103"/>
                <a:gd name="connsiteY2" fmla="*/ 81075 h 95511"/>
                <a:gd name="connsiteX3" fmla="*/ 13569 w 86103"/>
                <a:gd name="connsiteY3" fmla="*/ 85632 h 95511"/>
                <a:gd name="connsiteX4" fmla="*/ 10869 w 86103"/>
                <a:gd name="connsiteY4" fmla="*/ 83076 h 95511"/>
                <a:gd name="connsiteX5" fmla="*/ 38 w 86103"/>
                <a:gd name="connsiteY5" fmla="*/ 48873 h 95511"/>
                <a:gd name="connsiteX6" fmla="*/ 9102 w 86103"/>
                <a:gd name="connsiteY6" fmla="*/ 17036 h 95511"/>
                <a:gd name="connsiteX7" fmla="*/ 44223 w 86103"/>
                <a:gd name="connsiteY7" fmla="*/ 71 h 95511"/>
                <a:gd name="connsiteX8" fmla="*/ 80205 w 86103"/>
                <a:gd name="connsiteY8" fmla="*/ 15535 h 95511"/>
                <a:gd name="connsiteX9" fmla="*/ 69238 w 86103"/>
                <a:gd name="connsiteY9" fmla="*/ 74207 h 95511"/>
                <a:gd name="connsiteX10" fmla="*/ 76580 w 86103"/>
                <a:gd name="connsiteY10" fmla="*/ 46918 h 95511"/>
                <a:gd name="connsiteX11" fmla="*/ 68105 w 86103"/>
                <a:gd name="connsiteY11" fmla="*/ 20766 h 95511"/>
                <a:gd name="connsiteX12" fmla="*/ 44993 w 86103"/>
                <a:gd name="connsiteY12" fmla="*/ 10851 h 95511"/>
                <a:gd name="connsiteX13" fmla="*/ 21791 w 86103"/>
                <a:gd name="connsiteY13" fmla="*/ 20629 h 95511"/>
                <a:gd name="connsiteX14" fmla="*/ 12727 w 86103"/>
                <a:gd name="connsiteY14" fmla="*/ 49601 h 95511"/>
                <a:gd name="connsiteX15" fmla="*/ 20431 w 86103"/>
                <a:gd name="connsiteY15" fmla="*/ 75389 h 95511"/>
                <a:gd name="connsiteX16" fmla="*/ 45447 w 86103"/>
                <a:gd name="connsiteY16" fmla="*/ 85896 h 95511"/>
                <a:gd name="connsiteX17" fmla="*/ 69238 w 86103"/>
                <a:gd name="connsiteY17" fmla="*/ 74207 h 9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103" h="95511">
                  <a:moveTo>
                    <a:pt x="80205" y="15535"/>
                  </a:moveTo>
                  <a:cubicBezTo>
                    <a:pt x="86563" y="24686"/>
                    <a:pt x="89745" y="35679"/>
                    <a:pt x="89269" y="46827"/>
                  </a:cubicBezTo>
                  <a:cubicBezTo>
                    <a:pt x="89731" y="59093"/>
                    <a:pt x="86060" y="71160"/>
                    <a:pt x="78846" y="81075"/>
                  </a:cubicBezTo>
                  <a:cubicBezTo>
                    <a:pt x="62074" y="100423"/>
                    <a:pt x="32848" y="102465"/>
                    <a:pt x="13569" y="85632"/>
                  </a:cubicBezTo>
                  <a:cubicBezTo>
                    <a:pt x="12635" y="84818"/>
                    <a:pt x="11735" y="83963"/>
                    <a:pt x="10869" y="83076"/>
                  </a:cubicBezTo>
                  <a:cubicBezTo>
                    <a:pt x="3401" y="73288"/>
                    <a:pt x="-429" y="61190"/>
                    <a:pt x="38" y="48873"/>
                  </a:cubicBezTo>
                  <a:cubicBezTo>
                    <a:pt x="-317" y="37571"/>
                    <a:pt x="2852" y="26442"/>
                    <a:pt x="9102" y="17036"/>
                  </a:cubicBezTo>
                  <a:cubicBezTo>
                    <a:pt x="17094" y="5661"/>
                    <a:pt x="30379" y="-756"/>
                    <a:pt x="44223" y="71"/>
                  </a:cubicBezTo>
                  <a:cubicBezTo>
                    <a:pt x="60447" y="71"/>
                    <a:pt x="72411" y="5120"/>
                    <a:pt x="80205" y="15535"/>
                  </a:cubicBezTo>
                  <a:close/>
                  <a:moveTo>
                    <a:pt x="69238" y="74207"/>
                  </a:moveTo>
                  <a:cubicBezTo>
                    <a:pt x="74250" y="66006"/>
                    <a:pt x="76797" y="56533"/>
                    <a:pt x="76580" y="46918"/>
                  </a:cubicBezTo>
                  <a:cubicBezTo>
                    <a:pt x="77051" y="37453"/>
                    <a:pt x="74037" y="28143"/>
                    <a:pt x="68105" y="20766"/>
                  </a:cubicBezTo>
                  <a:cubicBezTo>
                    <a:pt x="62332" y="14071"/>
                    <a:pt x="53808" y="10414"/>
                    <a:pt x="44993" y="10851"/>
                  </a:cubicBezTo>
                  <a:cubicBezTo>
                    <a:pt x="36209" y="10564"/>
                    <a:pt x="27737" y="14134"/>
                    <a:pt x="21791" y="20629"/>
                  </a:cubicBezTo>
                  <a:cubicBezTo>
                    <a:pt x="15749" y="27179"/>
                    <a:pt x="12727" y="36834"/>
                    <a:pt x="12727" y="49601"/>
                  </a:cubicBezTo>
                  <a:cubicBezTo>
                    <a:pt x="12435" y="58811"/>
                    <a:pt x="15139" y="67862"/>
                    <a:pt x="20431" y="75389"/>
                  </a:cubicBezTo>
                  <a:cubicBezTo>
                    <a:pt x="25597" y="82394"/>
                    <a:pt x="33936" y="85896"/>
                    <a:pt x="45447" y="85896"/>
                  </a:cubicBezTo>
                  <a:cubicBezTo>
                    <a:pt x="54913" y="86669"/>
                    <a:pt x="64040" y="82184"/>
                    <a:pt x="69238" y="74207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60" name="Forma libre 59">
              <a:extLst>
                <a:ext uri="{FF2B5EF4-FFF2-40B4-BE49-F238E27FC236}">
                  <a16:creationId xmlns:a16="http://schemas.microsoft.com/office/drawing/2014/main" id="{13969D44-82B8-5645-9863-1ED67351F0B6}"/>
                </a:ext>
              </a:extLst>
            </p:cNvPr>
            <p:cNvSpPr/>
            <p:nvPr/>
          </p:nvSpPr>
          <p:spPr>
            <a:xfrm>
              <a:off x="896668" y="988794"/>
              <a:ext cx="81572" cy="90964"/>
            </a:xfrm>
            <a:custGeom>
              <a:avLst/>
              <a:gdLst>
                <a:gd name="connsiteX0" fmla="*/ 34532 w 81571"/>
                <a:gd name="connsiteY0" fmla="*/ 0 h 90963"/>
                <a:gd name="connsiteX1" fmla="*/ 48581 w 81571"/>
                <a:gd name="connsiteY1" fmla="*/ 0 h 90963"/>
                <a:gd name="connsiteX2" fmla="*/ 82070 w 81571"/>
                <a:gd name="connsiteY2" fmla="*/ 92055 h 90963"/>
                <a:gd name="connsiteX3" fmla="*/ 68475 w 81571"/>
                <a:gd name="connsiteY3" fmla="*/ 92055 h 90963"/>
                <a:gd name="connsiteX4" fmla="*/ 58913 w 81571"/>
                <a:gd name="connsiteY4" fmla="*/ 64448 h 90963"/>
                <a:gd name="connsiteX5" fmla="*/ 22704 w 81571"/>
                <a:gd name="connsiteY5" fmla="*/ 64448 h 90963"/>
                <a:gd name="connsiteX6" fmla="*/ 12734 w 81571"/>
                <a:gd name="connsiteY6" fmla="*/ 92055 h 90963"/>
                <a:gd name="connsiteX7" fmla="*/ 0 w 81571"/>
                <a:gd name="connsiteY7" fmla="*/ 92055 h 90963"/>
                <a:gd name="connsiteX8" fmla="*/ 55152 w 81571"/>
                <a:gd name="connsiteY8" fmla="*/ 54305 h 90963"/>
                <a:gd name="connsiteX9" fmla="*/ 41012 w 81571"/>
                <a:gd name="connsiteY9" fmla="*/ 13645 h 90963"/>
                <a:gd name="connsiteX10" fmla="*/ 26375 w 81571"/>
                <a:gd name="connsiteY10" fmla="*/ 54305 h 90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571" h="90963">
                  <a:moveTo>
                    <a:pt x="34532" y="0"/>
                  </a:moveTo>
                  <a:lnTo>
                    <a:pt x="48581" y="0"/>
                  </a:lnTo>
                  <a:lnTo>
                    <a:pt x="82070" y="92055"/>
                  </a:lnTo>
                  <a:lnTo>
                    <a:pt x="68475" y="92055"/>
                  </a:lnTo>
                  <a:lnTo>
                    <a:pt x="58913" y="64448"/>
                  </a:lnTo>
                  <a:lnTo>
                    <a:pt x="22704" y="64448"/>
                  </a:lnTo>
                  <a:lnTo>
                    <a:pt x="12734" y="92055"/>
                  </a:lnTo>
                  <a:lnTo>
                    <a:pt x="0" y="92055"/>
                  </a:lnTo>
                  <a:close/>
                  <a:moveTo>
                    <a:pt x="55152" y="54305"/>
                  </a:moveTo>
                  <a:lnTo>
                    <a:pt x="41012" y="13645"/>
                  </a:lnTo>
                  <a:lnTo>
                    <a:pt x="26375" y="54305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61" name="Forma libre 60">
              <a:extLst>
                <a:ext uri="{FF2B5EF4-FFF2-40B4-BE49-F238E27FC236}">
                  <a16:creationId xmlns:a16="http://schemas.microsoft.com/office/drawing/2014/main" id="{3825469A-0000-D04E-81A2-E5976B827513}"/>
                </a:ext>
              </a:extLst>
            </p:cNvPr>
            <p:cNvSpPr/>
            <p:nvPr/>
          </p:nvSpPr>
          <p:spPr>
            <a:xfrm>
              <a:off x="990296" y="986311"/>
              <a:ext cx="77040" cy="95512"/>
            </a:xfrm>
            <a:custGeom>
              <a:avLst/>
              <a:gdLst>
                <a:gd name="connsiteX0" fmla="*/ 69017 w 77040"/>
                <a:gd name="connsiteY0" fmla="*/ 9260 h 95511"/>
                <a:gd name="connsiteX1" fmla="*/ 79576 w 77040"/>
                <a:gd name="connsiteY1" fmla="*/ 30182 h 95511"/>
                <a:gd name="connsiteX2" fmla="*/ 67477 w 77040"/>
                <a:gd name="connsiteY2" fmla="*/ 30182 h 95511"/>
                <a:gd name="connsiteX3" fmla="*/ 42461 w 77040"/>
                <a:gd name="connsiteY3" fmla="*/ 10897 h 95511"/>
                <a:gd name="connsiteX4" fmla="*/ 20981 w 77040"/>
                <a:gd name="connsiteY4" fmla="*/ 20448 h 95511"/>
                <a:gd name="connsiteX5" fmla="*/ 12778 w 77040"/>
                <a:gd name="connsiteY5" fmla="*/ 49784 h 95511"/>
                <a:gd name="connsiteX6" fmla="*/ 20165 w 77040"/>
                <a:gd name="connsiteY6" fmla="*/ 76027 h 95511"/>
                <a:gd name="connsiteX7" fmla="*/ 42235 w 77040"/>
                <a:gd name="connsiteY7" fmla="*/ 86079 h 95511"/>
                <a:gd name="connsiteX8" fmla="*/ 62764 w 77040"/>
                <a:gd name="connsiteY8" fmla="*/ 75481 h 95511"/>
                <a:gd name="connsiteX9" fmla="*/ 68338 w 77040"/>
                <a:gd name="connsiteY9" fmla="*/ 60836 h 95511"/>
                <a:gd name="connsiteX10" fmla="*/ 80437 w 77040"/>
                <a:gd name="connsiteY10" fmla="*/ 60836 h 95511"/>
                <a:gd name="connsiteX11" fmla="*/ 69833 w 77040"/>
                <a:gd name="connsiteY11" fmla="*/ 85215 h 95511"/>
                <a:gd name="connsiteX12" fmla="*/ 40694 w 77040"/>
                <a:gd name="connsiteY12" fmla="*/ 97040 h 95511"/>
                <a:gd name="connsiteX13" fmla="*/ 14183 w 77040"/>
                <a:gd name="connsiteY13" fmla="*/ 87352 h 95511"/>
                <a:gd name="connsiteX14" fmla="*/ 44 w 77040"/>
                <a:gd name="connsiteY14" fmla="*/ 47647 h 95511"/>
                <a:gd name="connsiteX15" fmla="*/ 10648 w 77040"/>
                <a:gd name="connsiteY15" fmla="*/ 14217 h 95511"/>
                <a:gd name="connsiteX16" fmla="*/ 42371 w 77040"/>
                <a:gd name="connsiteY16" fmla="*/ 72 h 95511"/>
                <a:gd name="connsiteX17" fmla="*/ 69017 w 77040"/>
                <a:gd name="connsiteY17" fmla="*/ 9260 h 9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040" h="95511">
                  <a:moveTo>
                    <a:pt x="69017" y="9260"/>
                  </a:moveTo>
                  <a:cubicBezTo>
                    <a:pt x="74999" y="14677"/>
                    <a:pt x="78765" y="22136"/>
                    <a:pt x="79576" y="30182"/>
                  </a:cubicBezTo>
                  <a:lnTo>
                    <a:pt x="67477" y="30182"/>
                  </a:lnTo>
                  <a:cubicBezTo>
                    <a:pt x="65465" y="18165"/>
                    <a:pt x="54548" y="9751"/>
                    <a:pt x="42461" y="10897"/>
                  </a:cubicBezTo>
                  <a:cubicBezTo>
                    <a:pt x="34223" y="10611"/>
                    <a:pt x="26306" y="14131"/>
                    <a:pt x="20981" y="20448"/>
                  </a:cubicBezTo>
                  <a:cubicBezTo>
                    <a:pt x="15511" y="26875"/>
                    <a:pt x="12778" y="36654"/>
                    <a:pt x="12778" y="49784"/>
                  </a:cubicBezTo>
                  <a:cubicBezTo>
                    <a:pt x="12348" y="59103"/>
                    <a:pt x="14940" y="68313"/>
                    <a:pt x="20165" y="76027"/>
                  </a:cubicBezTo>
                  <a:cubicBezTo>
                    <a:pt x="25376" y="82881"/>
                    <a:pt x="33665" y="86656"/>
                    <a:pt x="42235" y="86079"/>
                  </a:cubicBezTo>
                  <a:cubicBezTo>
                    <a:pt x="50473" y="86474"/>
                    <a:pt x="58295" y="82436"/>
                    <a:pt x="62764" y="75481"/>
                  </a:cubicBezTo>
                  <a:cubicBezTo>
                    <a:pt x="65555" y="71011"/>
                    <a:pt x="67449" y="66035"/>
                    <a:pt x="68338" y="60836"/>
                  </a:cubicBezTo>
                  <a:lnTo>
                    <a:pt x="80437" y="60836"/>
                  </a:lnTo>
                  <a:cubicBezTo>
                    <a:pt x="79667" y="69910"/>
                    <a:pt x="75942" y="78479"/>
                    <a:pt x="69833" y="85215"/>
                  </a:cubicBezTo>
                  <a:cubicBezTo>
                    <a:pt x="62315" y="93251"/>
                    <a:pt x="51665" y="97572"/>
                    <a:pt x="40694" y="97040"/>
                  </a:cubicBezTo>
                  <a:cubicBezTo>
                    <a:pt x="30951" y="97322"/>
                    <a:pt x="21466" y="93856"/>
                    <a:pt x="14183" y="87352"/>
                  </a:cubicBezTo>
                  <a:cubicBezTo>
                    <a:pt x="4757" y="78742"/>
                    <a:pt x="44" y="65507"/>
                    <a:pt x="44" y="47647"/>
                  </a:cubicBezTo>
                  <a:cubicBezTo>
                    <a:pt x="-455" y="35598"/>
                    <a:pt x="3302" y="23759"/>
                    <a:pt x="10648" y="14217"/>
                  </a:cubicBezTo>
                  <a:cubicBezTo>
                    <a:pt x="18402" y="4739"/>
                    <a:pt x="30167" y="-505"/>
                    <a:pt x="42371" y="72"/>
                  </a:cubicBezTo>
                  <a:cubicBezTo>
                    <a:pt x="52118" y="-542"/>
                    <a:pt x="61703" y="2765"/>
                    <a:pt x="69017" y="9260"/>
                  </a:cubicBez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62" name="Forma libre 61">
              <a:extLst>
                <a:ext uri="{FF2B5EF4-FFF2-40B4-BE49-F238E27FC236}">
                  <a16:creationId xmlns:a16="http://schemas.microsoft.com/office/drawing/2014/main" id="{8F900CD4-AFA2-3142-9415-FE3E71290256}"/>
                </a:ext>
              </a:extLst>
            </p:cNvPr>
            <p:cNvSpPr/>
            <p:nvPr/>
          </p:nvSpPr>
          <p:spPr>
            <a:xfrm>
              <a:off x="1092033" y="988794"/>
              <a:ext cx="67976" cy="90964"/>
            </a:xfrm>
            <a:custGeom>
              <a:avLst/>
              <a:gdLst>
                <a:gd name="connsiteX0" fmla="*/ 0 w 67976"/>
                <a:gd name="connsiteY0" fmla="*/ 0 h 90963"/>
                <a:gd name="connsiteX1" fmla="*/ 12553 w 67976"/>
                <a:gd name="connsiteY1" fmla="*/ 0 h 90963"/>
                <a:gd name="connsiteX2" fmla="*/ 12553 w 67976"/>
                <a:gd name="connsiteY2" fmla="*/ 38023 h 90963"/>
                <a:gd name="connsiteX3" fmla="*/ 59683 w 67976"/>
                <a:gd name="connsiteY3" fmla="*/ 38023 h 90963"/>
                <a:gd name="connsiteX4" fmla="*/ 59683 w 67976"/>
                <a:gd name="connsiteY4" fmla="*/ 0 h 90963"/>
                <a:gd name="connsiteX5" fmla="*/ 72236 w 67976"/>
                <a:gd name="connsiteY5" fmla="*/ 0 h 90963"/>
                <a:gd name="connsiteX6" fmla="*/ 72236 w 67976"/>
                <a:gd name="connsiteY6" fmla="*/ 92055 h 90963"/>
                <a:gd name="connsiteX7" fmla="*/ 59683 w 67976"/>
                <a:gd name="connsiteY7" fmla="*/ 92055 h 90963"/>
                <a:gd name="connsiteX8" fmla="*/ 59683 w 67976"/>
                <a:gd name="connsiteY8" fmla="*/ 48984 h 90963"/>
                <a:gd name="connsiteX9" fmla="*/ 12553 w 67976"/>
                <a:gd name="connsiteY9" fmla="*/ 48984 h 90963"/>
                <a:gd name="connsiteX10" fmla="*/ 12553 w 67976"/>
                <a:gd name="connsiteY10" fmla="*/ 92055 h 90963"/>
                <a:gd name="connsiteX11" fmla="*/ 0 w 67976"/>
                <a:gd name="connsiteY11" fmla="*/ 92055 h 90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7976" h="90963">
                  <a:moveTo>
                    <a:pt x="0" y="0"/>
                  </a:moveTo>
                  <a:lnTo>
                    <a:pt x="12553" y="0"/>
                  </a:lnTo>
                  <a:lnTo>
                    <a:pt x="12553" y="38023"/>
                  </a:lnTo>
                  <a:lnTo>
                    <a:pt x="59683" y="38023"/>
                  </a:lnTo>
                  <a:lnTo>
                    <a:pt x="59683" y="0"/>
                  </a:lnTo>
                  <a:lnTo>
                    <a:pt x="72236" y="0"/>
                  </a:lnTo>
                  <a:lnTo>
                    <a:pt x="72236" y="92055"/>
                  </a:lnTo>
                  <a:lnTo>
                    <a:pt x="59683" y="92055"/>
                  </a:lnTo>
                  <a:lnTo>
                    <a:pt x="59683" y="48984"/>
                  </a:lnTo>
                  <a:lnTo>
                    <a:pt x="12553" y="48984"/>
                  </a:lnTo>
                  <a:lnTo>
                    <a:pt x="12553" y="92055"/>
                  </a:lnTo>
                  <a:lnTo>
                    <a:pt x="0" y="92055"/>
                  </a:lnTo>
                  <a:close/>
                </a:path>
              </a:pathLst>
            </a:custGeom>
            <a:solidFill>
              <a:srgbClr val="2E65A7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63" name="Forma libre 62">
              <a:extLst>
                <a:ext uri="{FF2B5EF4-FFF2-40B4-BE49-F238E27FC236}">
                  <a16:creationId xmlns:a16="http://schemas.microsoft.com/office/drawing/2014/main" id="{3DEE7EDC-20D9-764E-A6AE-889A56AB296E}"/>
                </a:ext>
              </a:extLst>
            </p:cNvPr>
            <p:cNvSpPr/>
            <p:nvPr/>
          </p:nvSpPr>
          <p:spPr>
            <a:xfrm>
              <a:off x="914206" y="447428"/>
              <a:ext cx="290033" cy="395692"/>
            </a:xfrm>
            <a:custGeom>
              <a:avLst/>
              <a:gdLst>
                <a:gd name="connsiteX0" fmla="*/ 286136 w 290032"/>
                <a:gd name="connsiteY0" fmla="*/ 2724 h 395692"/>
                <a:gd name="connsiteX1" fmla="*/ 272540 w 290032"/>
                <a:gd name="connsiteY1" fmla="*/ 41 h 395692"/>
                <a:gd name="connsiteX2" fmla="*/ 220878 w 290032"/>
                <a:gd name="connsiteY2" fmla="*/ 41 h 395692"/>
                <a:gd name="connsiteX3" fmla="*/ 209368 w 290032"/>
                <a:gd name="connsiteY3" fmla="*/ 3361 h 395692"/>
                <a:gd name="connsiteX4" fmla="*/ 202207 w 290032"/>
                <a:gd name="connsiteY4" fmla="*/ 14140 h 395692"/>
                <a:gd name="connsiteX5" fmla="*/ 188159 w 290032"/>
                <a:gd name="connsiteY5" fmla="*/ 51299 h 395692"/>
                <a:gd name="connsiteX6" fmla="*/ 171845 w 290032"/>
                <a:gd name="connsiteY6" fmla="*/ 94552 h 395692"/>
                <a:gd name="connsiteX7" fmla="*/ 154397 w 290032"/>
                <a:gd name="connsiteY7" fmla="*/ 140625 h 395692"/>
                <a:gd name="connsiteX8" fmla="*/ 137312 w 290032"/>
                <a:gd name="connsiteY8" fmla="*/ 186107 h 395692"/>
                <a:gd name="connsiteX9" fmla="*/ 121406 w 290032"/>
                <a:gd name="connsiteY9" fmla="*/ 227951 h 395692"/>
                <a:gd name="connsiteX10" fmla="*/ 108173 w 290032"/>
                <a:gd name="connsiteY10" fmla="*/ 262653 h 395692"/>
                <a:gd name="connsiteX11" fmla="*/ 90907 w 290032"/>
                <a:gd name="connsiteY11" fmla="*/ 220173 h 395692"/>
                <a:gd name="connsiteX12" fmla="*/ 75363 w 290032"/>
                <a:gd name="connsiteY12" fmla="*/ 183788 h 395692"/>
                <a:gd name="connsiteX13" fmla="*/ 72554 w 290032"/>
                <a:gd name="connsiteY13" fmla="*/ 177329 h 395692"/>
                <a:gd name="connsiteX14" fmla="*/ 55106 w 290032"/>
                <a:gd name="connsiteY14" fmla="*/ 137032 h 395692"/>
                <a:gd name="connsiteX15" fmla="*/ 40786 w 290032"/>
                <a:gd name="connsiteY15" fmla="*/ 102512 h 395692"/>
                <a:gd name="connsiteX16" fmla="*/ 0 w 290032"/>
                <a:gd name="connsiteY16" fmla="*/ 205846 h 395692"/>
                <a:gd name="connsiteX17" fmla="*/ 363 w 290032"/>
                <a:gd name="connsiteY17" fmla="*/ 206847 h 395692"/>
                <a:gd name="connsiteX18" fmla="*/ 363 w 290032"/>
                <a:gd name="connsiteY18" fmla="*/ 206847 h 395692"/>
                <a:gd name="connsiteX19" fmla="*/ 23021 w 290032"/>
                <a:gd name="connsiteY19" fmla="*/ 262835 h 395692"/>
                <a:gd name="connsiteX20" fmla="*/ 36299 w 290032"/>
                <a:gd name="connsiteY20" fmla="*/ 295309 h 395692"/>
                <a:gd name="connsiteX21" fmla="*/ 72554 w 290032"/>
                <a:gd name="connsiteY21" fmla="*/ 383863 h 395692"/>
                <a:gd name="connsiteX22" fmla="*/ 79079 w 290032"/>
                <a:gd name="connsiteY22" fmla="*/ 392595 h 395692"/>
                <a:gd name="connsiteX23" fmla="*/ 94034 w 290032"/>
                <a:gd name="connsiteY23" fmla="*/ 396643 h 395692"/>
                <a:gd name="connsiteX24" fmla="*/ 120817 w 290032"/>
                <a:gd name="connsiteY24" fmla="*/ 396643 h 395692"/>
                <a:gd name="connsiteX25" fmla="*/ 129382 w 290032"/>
                <a:gd name="connsiteY25" fmla="*/ 395551 h 395692"/>
                <a:gd name="connsiteX26" fmla="*/ 135273 w 290032"/>
                <a:gd name="connsiteY26" fmla="*/ 392595 h 395692"/>
                <a:gd name="connsiteX27" fmla="*/ 139035 w 290032"/>
                <a:gd name="connsiteY27" fmla="*/ 388547 h 395692"/>
                <a:gd name="connsiteX28" fmla="*/ 141663 w 290032"/>
                <a:gd name="connsiteY28" fmla="*/ 383999 h 395692"/>
                <a:gd name="connsiteX29" fmla="*/ 288583 w 290032"/>
                <a:gd name="connsiteY29" fmla="*/ 22873 h 395692"/>
                <a:gd name="connsiteX30" fmla="*/ 289806 w 290032"/>
                <a:gd name="connsiteY30" fmla="*/ 17551 h 395692"/>
                <a:gd name="connsiteX31" fmla="*/ 290441 w 290032"/>
                <a:gd name="connsiteY31" fmla="*/ 11593 h 395692"/>
                <a:gd name="connsiteX32" fmla="*/ 286136 w 290032"/>
                <a:gd name="connsiteY32" fmla="*/ 2724 h 39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0032" h="395692">
                  <a:moveTo>
                    <a:pt x="286136" y="2724"/>
                  </a:moveTo>
                  <a:cubicBezTo>
                    <a:pt x="281898" y="710"/>
                    <a:pt x="277222" y="-212"/>
                    <a:pt x="272540" y="41"/>
                  </a:cubicBezTo>
                  <a:lnTo>
                    <a:pt x="220878" y="41"/>
                  </a:lnTo>
                  <a:cubicBezTo>
                    <a:pt x="216781" y="-151"/>
                    <a:pt x="212739" y="1016"/>
                    <a:pt x="209368" y="3361"/>
                  </a:cubicBezTo>
                  <a:cubicBezTo>
                    <a:pt x="205991" y="6181"/>
                    <a:pt x="203503" y="9926"/>
                    <a:pt x="202207" y="14140"/>
                  </a:cubicBezTo>
                  <a:cubicBezTo>
                    <a:pt x="198038" y="25147"/>
                    <a:pt x="193144" y="37563"/>
                    <a:pt x="188159" y="51299"/>
                  </a:cubicBezTo>
                  <a:lnTo>
                    <a:pt x="171845" y="94552"/>
                  </a:lnTo>
                  <a:cubicBezTo>
                    <a:pt x="166135" y="109713"/>
                    <a:pt x="160320" y="125071"/>
                    <a:pt x="154397" y="140625"/>
                  </a:cubicBezTo>
                  <a:cubicBezTo>
                    <a:pt x="148474" y="156180"/>
                    <a:pt x="142782" y="171341"/>
                    <a:pt x="137312" y="186107"/>
                  </a:cubicBezTo>
                  <a:cubicBezTo>
                    <a:pt x="131784" y="200904"/>
                    <a:pt x="126482" y="214852"/>
                    <a:pt x="121406" y="227951"/>
                  </a:cubicBezTo>
                  <a:cubicBezTo>
                    <a:pt x="116330" y="241049"/>
                    <a:pt x="111921" y="252617"/>
                    <a:pt x="108173" y="262653"/>
                  </a:cubicBezTo>
                  <a:cubicBezTo>
                    <a:pt x="102767" y="248918"/>
                    <a:pt x="97012" y="234758"/>
                    <a:pt x="90907" y="220173"/>
                  </a:cubicBezTo>
                  <a:cubicBezTo>
                    <a:pt x="85741" y="207802"/>
                    <a:pt x="80529" y="195613"/>
                    <a:pt x="75363" y="183788"/>
                  </a:cubicBezTo>
                  <a:cubicBezTo>
                    <a:pt x="74412" y="181605"/>
                    <a:pt x="73505" y="179240"/>
                    <a:pt x="72554" y="177329"/>
                  </a:cubicBezTo>
                  <a:cubicBezTo>
                    <a:pt x="66513" y="163290"/>
                    <a:pt x="60694" y="149858"/>
                    <a:pt x="55106" y="137032"/>
                  </a:cubicBezTo>
                  <a:cubicBezTo>
                    <a:pt x="49668" y="124388"/>
                    <a:pt x="44864" y="112836"/>
                    <a:pt x="40786" y="102512"/>
                  </a:cubicBezTo>
                  <a:lnTo>
                    <a:pt x="0" y="205846"/>
                  </a:lnTo>
                  <a:lnTo>
                    <a:pt x="363" y="206847"/>
                  </a:lnTo>
                  <a:lnTo>
                    <a:pt x="363" y="206847"/>
                  </a:lnTo>
                  <a:cubicBezTo>
                    <a:pt x="7944" y="225646"/>
                    <a:pt x="15499" y="244309"/>
                    <a:pt x="23021" y="262835"/>
                  </a:cubicBezTo>
                  <a:cubicBezTo>
                    <a:pt x="27404" y="273690"/>
                    <a:pt x="31827" y="284515"/>
                    <a:pt x="36299" y="295309"/>
                  </a:cubicBezTo>
                  <a:lnTo>
                    <a:pt x="72554" y="383863"/>
                  </a:lnTo>
                  <a:cubicBezTo>
                    <a:pt x="74303" y="387074"/>
                    <a:pt x="76496" y="390012"/>
                    <a:pt x="79079" y="392595"/>
                  </a:cubicBezTo>
                  <a:cubicBezTo>
                    <a:pt x="83375" y="395797"/>
                    <a:pt x="88718" y="397243"/>
                    <a:pt x="94034" y="396643"/>
                  </a:cubicBezTo>
                  <a:lnTo>
                    <a:pt x="120817" y="396643"/>
                  </a:lnTo>
                  <a:cubicBezTo>
                    <a:pt x="123708" y="396698"/>
                    <a:pt x="126595" y="396329"/>
                    <a:pt x="129382" y="395551"/>
                  </a:cubicBezTo>
                  <a:cubicBezTo>
                    <a:pt x="131507" y="394937"/>
                    <a:pt x="133506" y="393932"/>
                    <a:pt x="135273" y="392595"/>
                  </a:cubicBezTo>
                  <a:cubicBezTo>
                    <a:pt x="136746" y="391467"/>
                    <a:pt x="138015" y="390098"/>
                    <a:pt x="139035" y="388547"/>
                  </a:cubicBezTo>
                  <a:cubicBezTo>
                    <a:pt x="139941" y="387092"/>
                    <a:pt x="140847" y="385636"/>
                    <a:pt x="141663" y="383999"/>
                  </a:cubicBezTo>
                  <a:lnTo>
                    <a:pt x="288583" y="22873"/>
                  </a:lnTo>
                  <a:cubicBezTo>
                    <a:pt x="289154" y="21141"/>
                    <a:pt x="289566" y="19360"/>
                    <a:pt x="289806" y="17551"/>
                  </a:cubicBezTo>
                  <a:cubicBezTo>
                    <a:pt x="290169" y="15584"/>
                    <a:pt x="290382" y="13593"/>
                    <a:pt x="290441" y="11593"/>
                  </a:cubicBezTo>
                  <a:cubicBezTo>
                    <a:pt x="290735" y="8068"/>
                    <a:pt x="289081" y="4664"/>
                    <a:pt x="286136" y="2724"/>
                  </a:cubicBezTo>
                  <a:close/>
                </a:path>
              </a:pathLst>
            </a:custGeom>
            <a:solidFill>
              <a:srgbClr val="D5E1ED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  <p:sp>
          <p:nvSpPr>
            <p:cNvPr id="64" name="Forma libre 63">
              <a:extLst>
                <a:ext uri="{FF2B5EF4-FFF2-40B4-BE49-F238E27FC236}">
                  <a16:creationId xmlns:a16="http://schemas.microsoft.com/office/drawing/2014/main" id="{F75704AF-FB4E-1049-9E63-F2E3FF7561B5}"/>
                </a:ext>
              </a:extLst>
            </p:cNvPr>
            <p:cNvSpPr/>
            <p:nvPr/>
          </p:nvSpPr>
          <p:spPr>
            <a:xfrm>
              <a:off x="616371" y="438139"/>
              <a:ext cx="362541" cy="395692"/>
            </a:xfrm>
            <a:custGeom>
              <a:avLst/>
              <a:gdLst>
                <a:gd name="connsiteX0" fmla="*/ 360283 w 362541"/>
                <a:gd name="connsiteY0" fmla="*/ 3372 h 395692"/>
                <a:gd name="connsiteX1" fmla="*/ 347050 w 362541"/>
                <a:gd name="connsiteY1" fmla="*/ 234 h 395692"/>
                <a:gd name="connsiteX2" fmla="*/ 292669 w 362541"/>
                <a:gd name="connsiteY2" fmla="*/ 234 h 395692"/>
                <a:gd name="connsiteX3" fmla="*/ 272774 w 362541"/>
                <a:gd name="connsiteY3" fmla="*/ 14333 h 395692"/>
                <a:gd name="connsiteX4" fmla="*/ 219526 w 362541"/>
                <a:gd name="connsiteY4" fmla="*/ 162377 h 395692"/>
                <a:gd name="connsiteX5" fmla="*/ 183725 w 362541"/>
                <a:gd name="connsiteY5" fmla="*/ 263892 h 395692"/>
                <a:gd name="connsiteX6" fmla="*/ 173302 w 362541"/>
                <a:gd name="connsiteY6" fmla="*/ 237194 h 395692"/>
                <a:gd name="connsiteX7" fmla="*/ 158438 w 362541"/>
                <a:gd name="connsiteY7" fmla="*/ 197216 h 395692"/>
                <a:gd name="connsiteX8" fmla="*/ 140855 w 362541"/>
                <a:gd name="connsiteY8" fmla="*/ 149733 h 395692"/>
                <a:gd name="connsiteX9" fmla="*/ 122728 w 362541"/>
                <a:gd name="connsiteY9" fmla="*/ 99702 h 395692"/>
                <a:gd name="connsiteX10" fmla="*/ 105915 w 362541"/>
                <a:gd name="connsiteY10" fmla="*/ 52856 h 395692"/>
                <a:gd name="connsiteX11" fmla="*/ 92319 w 362541"/>
                <a:gd name="connsiteY11" fmla="*/ 14424 h 395692"/>
                <a:gd name="connsiteX12" fmla="*/ 72697 w 362541"/>
                <a:gd name="connsiteY12" fmla="*/ 52 h 395692"/>
                <a:gd name="connsiteX13" fmla="*/ 16820 w 362541"/>
                <a:gd name="connsiteY13" fmla="*/ 52 h 395692"/>
                <a:gd name="connsiteX14" fmla="*/ 4222 w 362541"/>
                <a:gd name="connsiteY14" fmla="*/ 3645 h 395692"/>
                <a:gd name="connsiteX15" fmla="*/ 7 w 362541"/>
                <a:gd name="connsiteY15" fmla="*/ 13196 h 395692"/>
                <a:gd name="connsiteX16" fmla="*/ 325 w 362541"/>
                <a:gd name="connsiteY16" fmla="*/ 16925 h 395692"/>
                <a:gd name="connsiteX17" fmla="*/ 1095 w 362541"/>
                <a:gd name="connsiteY17" fmla="*/ 21019 h 395692"/>
                <a:gd name="connsiteX18" fmla="*/ 2183 w 362541"/>
                <a:gd name="connsiteY18" fmla="*/ 25567 h 395692"/>
                <a:gd name="connsiteX19" fmla="*/ 148785 w 362541"/>
                <a:gd name="connsiteY19" fmla="*/ 384601 h 395692"/>
                <a:gd name="connsiteX20" fmla="*/ 154541 w 362541"/>
                <a:gd name="connsiteY20" fmla="*/ 393152 h 395692"/>
                <a:gd name="connsiteX21" fmla="*/ 169631 w 362541"/>
                <a:gd name="connsiteY21" fmla="*/ 397063 h 395692"/>
                <a:gd name="connsiteX22" fmla="*/ 198272 w 362541"/>
                <a:gd name="connsiteY22" fmla="*/ 397063 h 395692"/>
                <a:gd name="connsiteX23" fmla="*/ 211505 w 362541"/>
                <a:gd name="connsiteY23" fmla="*/ 393015 h 395692"/>
                <a:gd name="connsiteX24" fmla="*/ 217577 w 362541"/>
                <a:gd name="connsiteY24" fmla="*/ 384601 h 395692"/>
                <a:gd name="connsiteX25" fmla="*/ 266430 w 362541"/>
                <a:gd name="connsiteY25" fmla="*/ 263528 h 395692"/>
                <a:gd name="connsiteX26" fmla="*/ 266430 w 362541"/>
                <a:gd name="connsiteY26" fmla="*/ 263528 h 395692"/>
                <a:gd name="connsiteX27" fmla="*/ 329467 w 362541"/>
                <a:gd name="connsiteY27" fmla="*/ 102613 h 395692"/>
                <a:gd name="connsiteX28" fmla="*/ 329467 w 362541"/>
                <a:gd name="connsiteY28" fmla="*/ 102295 h 395692"/>
                <a:gd name="connsiteX29" fmla="*/ 335992 w 362541"/>
                <a:gd name="connsiteY29" fmla="*/ 86376 h 395692"/>
                <a:gd name="connsiteX30" fmla="*/ 361823 w 362541"/>
                <a:gd name="connsiteY30" fmla="*/ 23293 h 395692"/>
                <a:gd name="connsiteX31" fmla="*/ 363228 w 362541"/>
                <a:gd name="connsiteY31" fmla="*/ 17653 h 395692"/>
                <a:gd name="connsiteX32" fmla="*/ 363999 w 362541"/>
                <a:gd name="connsiteY32" fmla="*/ 11422 h 395692"/>
                <a:gd name="connsiteX33" fmla="*/ 360283 w 362541"/>
                <a:gd name="connsiteY33" fmla="*/ 3372 h 39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62541" h="395692">
                  <a:moveTo>
                    <a:pt x="360283" y="3372"/>
                  </a:moveTo>
                  <a:cubicBezTo>
                    <a:pt x="356349" y="861"/>
                    <a:pt x="351686" y="-245"/>
                    <a:pt x="347050" y="234"/>
                  </a:cubicBezTo>
                  <a:lnTo>
                    <a:pt x="292669" y="234"/>
                  </a:lnTo>
                  <a:cubicBezTo>
                    <a:pt x="283528" y="-460"/>
                    <a:pt x="275181" y="5455"/>
                    <a:pt x="272774" y="14333"/>
                  </a:cubicBezTo>
                  <a:cubicBezTo>
                    <a:pt x="251806" y="71762"/>
                    <a:pt x="234059" y="121109"/>
                    <a:pt x="219526" y="162377"/>
                  </a:cubicBezTo>
                  <a:cubicBezTo>
                    <a:pt x="204994" y="203644"/>
                    <a:pt x="193061" y="237482"/>
                    <a:pt x="183725" y="263892"/>
                  </a:cubicBezTo>
                  <a:cubicBezTo>
                    <a:pt x="181233" y="257888"/>
                    <a:pt x="177788" y="248974"/>
                    <a:pt x="173302" y="237194"/>
                  </a:cubicBezTo>
                  <a:cubicBezTo>
                    <a:pt x="168816" y="225414"/>
                    <a:pt x="164103" y="212088"/>
                    <a:pt x="158438" y="197216"/>
                  </a:cubicBezTo>
                  <a:cubicBezTo>
                    <a:pt x="152773" y="182343"/>
                    <a:pt x="147108" y="166515"/>
                    <a:pt x="140855" y="149733"/>
                  </a:cubicBezTo>
                  <a:cubicBezTo>
                    <a:pt x="134601" y="132950"/>
                    <a:pt x="128574" y="116349"/>
                    <a:pt x="122728" y="99702"/>
                  </a:cubicBezTo>
                  <a:cubicBezTo>
                    <a:pt x="116882" y="83056"/>
                    <a:pt x="111172" y="67865"/>
                    <a:pt x="105915" y="52856"/>
                  </a:cubicBezTo>
                  <a:cubicBezTo>
                    <a:pt x="100658" y="37847"/>
                    <a:pt x="96081" y="25294"/>
                    <a:pt x="92319" y="14424"/>
                  </a:cubicBezTo>
                  <a:cubicBezTo>
                    <a:pt x="89978" y="5586"/>
                    <a:pt x="81798" y="-406"/>
                    <a:pt x="72697" y="52"/>
                  </a:cubicBezTo>
                  <a:lnTo>
                    <a:pt x="16820" y="52"/>
                  </a:lnTo>
                  <a:cubicBezTo>
                    <a:pt x="12330" y="-280"/>
                    <a:pt x="7867" y="993"/>
                    <a:pt x="4222" y="3645"/>
                  </a:cubicBezTo>
                  <a:cubicBezTo>
                    <a:pt x="1433" y="6012"/>
                    <a:pt x="-120" y="9532"/>
                    <a:pt x="7" y="13196"/>
                  </a:cubicBezTo>
                  <a:cubicBezTo>
                    <a:pt x="17" y="14445"/>
                    <a:pt x="123" y="15692"/>
                    <a:pt x="325" y="16925"/>
                  </a:cubicBezTo>
                  <a:cubicBezTo>
                    <a:pt x="499" y="18304"/>
                    <a:pt x="756" y="19671"/>
                    <a:pt x="1095" y="21019"/>
                  </a:cubicBezTo>
                  <a:lnTo>
                    <a:pt x="2183" y="25567"/>
                  </a:lnTo>
                  <a:lnTo>
                    <a:pt x="148785" y="384601"/>
                  </a:lnTo>
                  <a:cubicBezTo>
                    <a:pt x="150101" y="387817"/>
                    <a:pt x="152060" y="390727"/>
                    <a:pt x="154541" y="393152"/>
                  </a:cubicBezTo>
                  <a:cubicBezTo>
                    <a:pt x="157124" y="395790"/>
                    <a:pt x="162154" y="397063"/>
                    <a:pt x="169631" y="397063"/>
                  </a:cubicBezTo>
                  <a:lnTo>
                    <a:pt x="198272" y="397063"/>
                  </a:lnTo>
                  <a:cubicBezTo>
                    <a:pt x="203054" y="397636"/>
                    <a:pt x="207854" y="396167"/>
                    <a:pt x="211505" y="393015"/>
                  </a:cubicBezTo>
                  <a:cubicBezTo>
                    <a:pt x="213815" y="390432"/>
                    <a:pt x="215849" y="387607"/>
                    <a:pt x="217577" y="384601"/>
                  </a:cubicBezTo>
                  <a:lnTo>
                    <a:pt x="266430" y="263528"/>
                  </a:lnTo>
                  <a:lnTo>
                    <a:pt x="266430" y="263528"/>
                  </a:lnTo>
                  <a:lnTo>
                    <a:pt x="329467" y="102613"/>
                  </a:lnTo>
                  <a:lnTo>
                    <a:pt x="329467" y="102295"/>
                  </a:lnTo>
                  <a:lnTo>
                    <a:pt x="335992" y="86376"/>
                  </a:lnTo>
                  <a:lnTo>
                    <a:pt x="361823" y="23293"/>
                  </a:lnTo>
                  <a:cubicBezTo>
                    <a:pt x="362231" y="22019"/>
                    <a:pt x="362685" y="20155"/>
                    <a:pt x="363228" y="17653"/>
                  </a:cubicBezTo>
                  <a:cubicBezTo>
                    <a:pt x="363681" y="15605"/>
                    <a:pt x="363940" y="13519"/>
                    <a:pt x="363999" y="11422"/>
                  </a:cubicBezTo>
                  <a:cubicBezTo>
                    <a:pt x="364035" y="8313"/>
                    <a:pt x="362671" y="5353"/>
                    <a:pt x="360283" y="3372"/>
                  </a:cubicBezTo>
                  <a:close/>
                </a:path>
              </a:pathLst>
            </a:custGeom>
            <a:solidFill>
              <a:srgbClr val="2E65A7"/>
            </a:solidFill>
            <a:ln w="45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4D134A3-CB7D-524E-8D41-A879FF9261F5}" type="slidenum">
              <a:rPr lang="es-ES" dirty="0" smtClean="0">
                <a:solidFill>
                  <a:prstClr val="black"/>
                </a:solidFill>
              </a:rPr>
              <a:pPr/>
              <a:t>20</a:t>
            </a:fld>
            <a:endParaRPr lang="es-ES" dirty="0">
              <a:solidFill>
                <a:prstClr val="black"/>
              </a:solidFill>
            </a:endParaRPr>
          </a:p>
        </p:txBody>
      </p:sp>
      <p:pic>
        <p:nvPicPr>
          <p:cNvPr id="67" name="Imagen 2">
            <a:extLst>
              <a:ext uri="{FF2B5EF4-FFF2-40B4-BE49-F238E27FC236}">
                <a16:creationId xmlns:a16="http://schemas.microsoft.com/office/drawing/2014/main" id="{CE5A209B-3B75-4388-8839-3DDB58BF6D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grayscl/>
          </a:blip>
          <a:srcRect l="-1" r="40173"/>
          <a:stretch/>
        </p:blipFill>
        <p:spPr>
          <a:xfrm>
            <a:off x="0" y="0"/>
            <a:ext cx="12216512" cy="6858000"/>
          </a:xfrm>
          <a:prstGeom prst="rect">
            <a:avLst/>
          </a:prstGeom>
        </p:spPr>
      </p:pic>
      <p:sp>
        <p:nvSpPr>
          <p:cNvPr id="69" name="Rectángulo 3">
            <a:extLst>
              <a:ext uri="{FF2B5EF4-FFF2-40B4-BE49-F238E27FC236}">
                <a16:creationId xmlns:a16="http://schemas.microsoft.com/office/drawing/2014/main" id="{DCE96065-934C-B24D-A2ED-8BBE02A29720}"/>
              </a:ext>
            </a:extLst>
          </p:cNvPr>
          <p:cNvSpPr/>
          <p:nvPr/>
        </p:nvSpPr>
        <p:spPr>
          <a:xfrm>
            <a:off x="5828462" y="2318465"/>
            <a:ext cx="3573624" cy="12003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99" name="CuadroTexto 5">
            <a:extLst>
              <a:ext uri="{FF2B5EF4-FFF2-40B4-BE49-F238E27FC236}">
                <a16:creationId xmlns:a16="http://schemas.microsoft.com/office/drawing/2014/main" id="{150FD6C2-D855-4AD3-84BF-DE2916330766}"/>
              </a:ext>
            </a:extLst>
          </p:cNvPr>
          <p:cNvSpPr txBox="1"/>
          <p:nvPr/>
        </p:nvSpPr>
        <p:spPr>
          <a:xfrm>
            <a:off x="5964017" y="1399259"/>
            <a:ext cx="330251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4400" b="1" dirty="0">
                <a:solidFill>
                  <a:srgbClr val="002060"/>
                </a:solidFill>
                <a:effectLst>
                  <a:glow>
                    <a:scrgbClr r="0" g="0" b="0"/>
                  </a:glow>
                </a:effectLst>
                <a:latin typeface="Century Gothic" panose="020B0502020202020204" pitchFamily="34" charset="0"/>
              </a:rPr>
              <a:t>¡Gracias!</a:t>
            </a:r>
          </a:p>
        </p:txBody>
      </p:sp>
      <p:pic>
        <p:nvPicPr>
          <p:cNvPr id="3" name="Imagen 2" descr="Imagen que contiene Texto&#10;&#10;Descripción generada automáticamente">
            <a:extLst>
              <a:ext uri="{FF2B5EF4-FFF2-40B4-BE49-F238E27FC236}">
                <a16:creationId xmlns:a16="http://schemas.microsoft.com/office/drawing/2014/main" id="{DD47ACDC-42B4-A0A4-59E9-1DEB6693ED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0645" y="2318465"/>
            <a:ext cx="2089257" cy="61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408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b="1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8.- Preguntas</a:t>
            </a:r>
          </a:p>
        </p:txBody>
      </p:sp>
    </p:spTree>
    <p:extLst>
      <p:ext uri="{BB962C8B-B14F-4D97-AF65-F5344CB8AC3E}">
        <p14:creationId xmlns:p14="http://schemas.microsoft.com/office/powerpoint/2010/main" val="3384221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1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Objetivo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4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B7389055-ED77-4CBB-25AC-763AF829A1DC}"/>
              </a:ext>
            </a:extLst>
          </p:cNvPr>
          <p:cNvSpPr txBox="1"/>
          <p:nvPr/>
        </p:nvSpPr>
        <p:spPr>
          <a:xfrm>
            <a:off x="871876" y="2934091"/>
            <a:ext cx="9967262" cy="33239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971550" indent="-285750">
              <a:buFont typeface="Arial" panose="020B0604020202020204" pitchFamily="34" charset="0"/>
              <a:buChar char="•"/>
            </a:pPr>
            <a:r>
              <a:rPr lang="es-ES" sz="1800" kern="100" dirty="0">
                <a:effectLst/>
                <a:latin typeface="Calibri" panose="020F0502020204030204" pitchFamily="34" charset="0"/>
                <a:ea typeface="Droid Sans Fallback"/>
                <a:cs typeface="FreeSans"/>
              </a:rPr>
              <a:t>El objetivo del proyecto es el poder llegar al mayor numero posibles de bares y restaurantes, ayudándoles a darles visibilidad en las redes aumentando su clientela y sus ventas.</a:t>
            </a:r>
            <a:endParaRPr lang="es-ES" sz="1800" kern="100" dirty="0">
              <a:effectLst/>
              <a:latin typeface="Liberation Serif"/>
              <a:ea typeface="Droid Sans Fallback"/>
              <a:cs typeface="FreeSans"/>
            </a:endParaRPr>
          </a:p>
          <a:p>
            <a:pPr marL="685800"/>
            <a:r>
              <a:rPr lang="es-ES" sz="1800" kern="100" dirty="0">
                <a:effectLst/>
                <a:latin typeface="Calibri" panose="020F0502020204030204" pitchFamily="34" charset="0"/>
                <a:ea typeface="Droid Sans Fallback"/>
                <a:cs typeface="FreeSans"/>
              </a:rPr>
              <a:t>	 Así mismo el proyecto debe ser escalable para que pueda crecer y expandirse en cualquier   	 ciudad de España o de otro país.</a:t>
            </a:r>
          </a:p>
          <a:p>
            <a:pPr marL="685800"/>
            <a:endParaRPr lang="es-ES" kern="100" dirty="0">
              <a:latin typeface="Calibri" panose="020F0502020204030204" pitchFamily="34" charset="0"/>
              <a:ea typeface="Droid Sans Fallback"/>
              <a:cs typeface="FreeSans"/>
            </a:endParaRPr>
          </a:p>
          <a:p>
            <a:pPr marL="685800"/>
            <a:endParaRPr lang="es-ES" sz="1800" kern="100" dirty="0">
              <a:effectLst/>
              <a:latin typeface="Calibri" panose="020F0502020204030204" pitchFamily="34" charset="0"/>
              <a:ea typeface="Droid Sans Fallback"/>
              <a:cs typeface="FreeSans"/>
            </a:endParaRPr>
          </a:p>
          <a:p>
            <a:r>
              <a:rPr lang="es-ES" sz="1800" kern="100" dirty="0">
                <a:effectLst/>
                <a:latin typeface="Liberation Serif"/>
                <a:ea typeface="Droid Sans Fallback"/>
                <a:cs typeface="FreeSans"/>
              </a:rPr>
              <a:t> </a:t>
            </a:r>
          </a:p>
          <a:p>
            <a:pPr marL="1063625" indent="-285750">
              <a:buFont typeface="Arial" panose="020B0604020202020204" pitchFamily="34" charset="0"/>
              <a:buChar char="•"/>
            </a:pPr>
            <a:r>
              <a:rPr lang="en-US" sz="1800" kern="100" dirty="0">
                <a:effectLst/>
                <a:latin typeface="Liberation Serif"/>
                <a:ea typeface="Droid Sans Fallback"/>
                <a:cs typeface="FreeSans"/>
              </a:rPr>
              <a:t>The objective of this project is to help bars and restaurants, helping them to give them growing visibility on the web and helping them to increase the sells.</a:t>
            </a:r>
            <a:endParaRPr lang="es-ES" sz="1800" kern="100" dirty="0">
              <a:effectLst/>
              <a:latin typeface="Liberation Serif"/>
              <a:ea typeface="Droid Sans Fallback"/>
              <a:cs typeface="FreeSans"/>
            </a:endParaRPr>
          </a:p>
          <a:p>
            <a:pPr marL="777875"/>
            <a:r>
              <a:rPr lang="en-US" sz="1800" kern="100" dirty="0">
                <a:effectLst/>
                <a:latin typeface="Liberation Serif"/>
                <a:ea typeface="Droid Sans Fallback"/>
                <a:cs typeface="FreeSans"/>
              </a:rPr>
              <a:t>	  Another objective is that the project is available to increase with new cities or adding new   </a:t>
            </a:r>
          </a:p>
          <a:p>
            <a:pPr marL="777875"/>
            <a:r>
              <a:rPr lang="en-US" kern="100" dirty="0">
                <a:latin typeface="Liberation Serif"/>
                <a:ea typeface="Droid Sans Fallback"/>
                <a:cs typeface="FreeSans"/>
              </a:rPr>
              <a:t>    </a:t>
            </a:r>
            <a:r>
              <a:rPr lang="en-US" sz="1800" kern="100" dirty="0">
                <a:effectLst/>
                <a:latin typeface="Liberation Serif"/>
                <a:ea typeface="Droid Sans Fallback"/>
                <a:cs typeface="FreeSans"/>
              </a:rPr>
              <a:t>countries.</a:t>
            </a:r>
            <a:endParaRPr lang="es-ES" sz="1800" kern="100" dirty="0">
              <a:effectLst/>
              <a:latin typeface="Liberation Serif"/>
              <a:ea typeface="Droid Sans Fallback"/>
              <a:cs typeface="FreeSans"/>
            </a:endParaRPr>
          </a:p>
          <a:p>
            <a:pPr marL="285750" indent="-285750">
              <a:buFont typeface="Arial"/>
              <a:buChar char="•"/>
            </a:pPr>
            <a:endParaRPr lang="en-US" sz="1200" dirty="0">
              <a:ea typeface="+mn-lt"/>
              <a:cs typeface="+mn-lt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971CAFE-BA71-7051-0726-6F1A65631014}"/>
              </a:ext>
            </a:extLst>
          </p:cNvPr>
          <p:cNvSpPr txBox="1"/>
          <p:nvPr/>
        </p:nvSpPr>
        <p:spPr>
          <a:xfrm>
            <a:off x="605050" y="896707"/>
            <a:ext cx="1050091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/>
            <a:r>
              <a:rPr lang="es-ES" kern="100" dirty="0">
                <a:latin typeface="Calibri" panose="020F0502020204030204" pitchFamily="34" charset="0"/>
              </a:rPr>
              <a:t>Dada la actual coyuntura donde todo está conectado en la red, se está demostrando que todo comercio que no está en la red se va a quedar desfasado en poco tiempo, por ello Donde Comer se va a especializar en ese nicho de mercado que lo forman pequeños y medianos locales de hostelería, para ayudarles a su local sea más conocido e intentar ayudarles a aumentar sus ventas sin necesidad de hacer una gran campaña de marketing.</a:t>
            </a:r>
          </a:p>
          <a:p>
            <a:pPr marL="457200"/>
            <a:endParaRPr lang="es-ES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659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b="1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8.- Preguntas</a:t>
            </a:r>
          </a:p>
        </p:txBody>
      </p:sp>
    </p:spTree>
    <p:extLst>
      <p:ext uri="{BB962C8B-B14F-4D97-AF65-F5344CB8AC3E}">
        <p14:creationId xmlns:p14="http://schemas.microsoft.com/office/powerpoint/2010/main" val="1708522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2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Requisitos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6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0A07F83-8FDD-74B0-0DE5-8AA7E02955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05315" y="897753"/>
            <a:ext cx="6805659" cy="5585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573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2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Requisitos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7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600EF4F-CC95-857F-60E8-C4FEEF2971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27850" y="1312139"/>
            <a:ext cx="8439150" cy="299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348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uadroTexto 38">
            <a:extLst>
              <a:ext uri="{FF2B5EF4-FFF2-40B4-BE49-F238E27FC236}">
                <a16:creationId xmlns:a16="http://schemas.microsoft.com/office/drawing/2014/main" id="{7F05BE99-B042-894B-9B7B-BC7AB1A74CE1}"/>
              </a:ext>
            </a:extLst>
          </p:cNvPr>
          <p:cNvSpPr txBox="1"/>
          <p:nvPr/>
        </p:nvSpPr>
        <p:spPr>
          <a:xfrm>
            <a:off x="898918" y="1012078"/>
            <a:ext cx="1995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3600" b="1" dirty="0">
                <a:solidFill>
                  <a:srgbClr val="EAE5DF"/>
                </a:solidFill>
                <a:cs typeface="Arial" panose="020B0604020202020204" pitchFamily="34" charset="0"/>
              </a:rPr>
              <a:t>ÍNDICE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6C054DF-2488-A44F-98FC-AE2516C96285}"/>
              </a:ext>
            </a:extLst>
          </p:cNvPr>
          <p:cNvCxnSpPr>
            <a:cxnSpLocks/>
          </p:cNvCxnSpPr>
          <p:nvPr/>
        </p:nvCxnSpPr>
        <p:spPr>
          <a:xfrm>
            <a:off x="793374" y="1142883"/>
            <a:ext cx="0" cy="5715117"/>
          </a:xfrm>
          <a:prstGeom prst="line">
            <a:avLst/>
          </a:prstGeom>
          <a:ln w="19050">
            <a:solidFill>
              <a:srgbClr val="ED29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2">
            <a:extLst>
              <a:ext uri="{FF2B5EF4-FFF2-40B4-BE49-F238E27FC236}">
                <a16:creationId xmlns:a16="http://schemas.microsoft.com/office/drawing/2014/main" id="{EE2EB87E-F264-4765-9C66-FE84E21A3B66}"/>
              </a:ext>
            </a:extLst>
          </p:cNvPr>
          <p:cNvSpPr/>
          <p:nvPr/>
        </p:nvSpPr>
        <p:spPr>
          <a:xfrm>
            <a:off x="3377918" y="1148470"/>
            <a:ext cx="7217211" cy="2539157"/>
          </a:xfrm>
          <a:prstGeom prst="rect">
            <a:avLst/>
          </a:prstGeom>
          <a:ln>
            <a:noFill/>
          </a:ln>
        </p:spPr>
        <p:txBody>
          <a:bodyPr wrap="square" lIns="88900" tIns="38100" rIns="88900" bIns="38100" anchor="t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1.- Objetivo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2.- Requisitos</a:t>
            </a:r>
          </a:p>
          <a:p>
            <a:pPr>
              <a:defRPr/>
            </a:pPr>
            <a:r>
              <a:rPr lang="es-ES_tradnl" sz="2000" b="1" dirty="0">
                <a:solidFill>
                  <a:srgbClr val="EAE5DF"/>
                </a:solidFill>
                <a:ea typeface="Helvetica Neue Thin" charset="0"/>
                <a:cs typeface="Arial"/>
              </a:rPr>
              <a:t>3.- Planificación</a:t>
            </a:r>
            <a:endParaRPr lang="es-ES_tradnl" sz="2000" b="1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4.- Presupuesto / Margen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5.- Metodología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6.- Diagramas</a:t>
            </a:r>
            <a:endParaRPr lang="es-ES_tradnl" sz="2000" dirty="0">
              <a:solidFill>
                <a:srgbClr val="EAE5DF"/>
              </a:solidFill>
              <a:ea typeface="Helvetica Neue Thin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7.- Demo </a:t>
            </a:r>
          </a:p>
          <a:p>
            <a:pPr>
              <a:defRPr/>
            </a:pPr>
            <a:r>
              <a:rPr lang="es-ES_tradnl" sz="2000" dirty="0">
                <a:solidFill>
                  <a:srgbClr val="EAE5DF"/>
                </a:solidFill>
                <a:ea typeface="Helvetica Neue Thin" charset="0"/>
                <a:cs typeface="Arial"/>
              </a:rPr>
              <a:t>8.- Preguntas</a:t>
            </a:r>
          </a:p>
        </p:txBody>
      </p:sp>
    </p:spTree>
    <p:extLst>
      <p:ext uri="{BB962C8B-B14F-4D97-AF65-F5344CB8AC3E}">
        <p14:creationId xmlns:p14="http://schemas.microsoft.com/office/powerpoint/2010/main" val="39078264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6EA10ED2-50E3-40EA-8CC2-55F5E96A71E8}"/>
              </a:ext>
            </a:extLst>
          </p:cNvPr>
          <p:cNvSpPr txBox="1">
            <a:spLocks/>
          </p:cNvSpPr>
          <p:nvPr/>
        </p:nvSpPr>
        <p:spPr>
          <a:xfrm>
            <a:off x="260350" y="181649"/>
            <a:ext cx="579438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9AAE04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/>
              <a:t>03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AAE04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2B4AAE5C-2267-4975-9C68-84E85C20D566}"/>
              </a:ext>
            </a:extLst>
          </p:cNvPr>
          <p:cNvCxnSpPr/>
          <p:nvPr/>
        </p:nvCxnSpPr>
        <p:spPr>
          <a:xfrm>
            <a:off x="793374" y="217649"/>
            <a:ext cx="4864" cy="360000"/>
          </a:xfrm>
          <a:prstGeom prst="line">
            <a:avLst/>
          </a:prstGeom>
          <a:ln w="19050">
            <a:solidFill>
              <a:srgbClr val="9AAE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453CE2-6FED-4720-8043-DBD1D2185AE1}"/>
              </a:ext>
            </a:extLst>
          </p:cNvPr>
          <p:cNvSpPr txBox="1">
            <a:spLocks/>
          </p:cNvSpPr>
          <p:nvPr/>
        </p:nvSpPr>
        <p:spPr>
          <a:xfrm>
            <a:off x="851739" y="181649"/>
            <a:ext cx="8946529" cy="4320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GB" sz="28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dirty="0">
                <a:solidFill>
                  <a:srgbClr val="9AAE04"/>
                </a:solidFill>
              </a:rPr>
              <a:t>Planificación</a:t>
            </a:r>
          </a:p>
        </p:txBody>
      </p:sp>
      <p:sp>
        <p:nvSpPr>
          <p:cNvPr id="8" name="Marcador de texto 20">
            <a:extLst>
              <a:ext uri="{FF2B5EF4-FFF2-40B4-BE49-F238E27FC236}">
                <a16:creationId xmlns:a16="http://schemas.microsoft.com/office/drawing/2014/main" id="{AEB6022B-2461-4B6B-BDBB-51EBB64E50C1}"/>
              </a:ext>
            </a:extLst>
          </p:cNvPr>
          <p:cNvSpPr txBox="1">
            <a:spLocks/>
          </p:cNvSpPr>
          <p:nvPr/>
        </p:nvSpPr>
        <p:spPr>
          <a:xfrm>
            <a:off x="429342" y="1179765"/>
            <a:ext cx="11157607" cy="42081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200" b="1"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ES" sz="1600" b="0" dirty="0">
              <a:solidFill>
                <a:srgbClr val="000000">
                  <a:lumMod val="65000"/>
                  <a:lumOff val="35000"/>
                </a:srgbClr>
              </a:solidFill>
              <a:latin typeface="Avenir Book" panose="02000503020000020003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AF8041-CF9E-4DE9-824A-1BF7D334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134A3-CB7D-524E-8D41-A879FF9261F5}" type="slidenum">
              <a:rPr lang="es-ES" smtClean="0">
                <a:solidFill>
                  <a:srgbClr val="FFFFFF">
                    <a:lumMod val="50000"/>
                  </a:srgbClr>
                </a:solidFill>
              </a:rPr>
              <a:pPr/>
              <a:t>9</a:t>
            </a:fld>
            <a:endParaRPr lang="es-E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385F82B-AF39-6D5E-1CDA-8224AF81AF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3557" y="1031384"/>
            <a:ext cx="3568544" cy="239761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7C027CB5-7013-6530-1B31-25EC9F3C87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1228" y="3721426"/>
            <a:ext cx="8705850" cy="276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71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e Office">
  <a:themeElements>
    <a:clrScheme name="Personalizados 1">
      <a:dk1>
        <a:srgbClr val="0A2C65"/>
      </a:dk1>
      <a:lt1>
        <a:srgbClr val="FFFFFF"/>
      </a:lt1>
      <a:dk2>
        <a:srgbClr val="0F316B"/>
      </a:dk2>
      <a:lt2>
        <a:srgbClr val="FFFDFF"/>
      </a:lt2>
      <a:accent1>
        <a:srgbClr val="EC2938"/>
      </a:accent1>
      <a:accent2>
        <a:srgbClr val="001F5C"/>
      </a:accent2>
      <a:accent3>
        <a:srgbClr val="ED2939"/>
      </a:accent3>
      <a:accent4>
        <a:srgbClr val="FEFFFE"/>
      </a:accent4>
      <a:accent5>
        <a:srgbClr val="002762"/>
      </a:accent5>
      <a:accent6>
        <a:srgbClr val="EC2B38"/>
      </a:accent6>
      <a:hlink>
        <a:srgbClr val="062C66"/>
      </a:hlink>
      <a:folHlink>
        <a:srgbClr val="ED2938"/>
      </a:folHlink>
    </a:clrScheme>
    <a:fontScheme name="Personalizado 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54F74B27F0B543BB9CB388FEC6B86C" ma:contentTypeVersion="6" ma:contentTypeDescription="Create a new document." ma:contentTypeScope="" ma:versionID="fc8b99f5bd6e1499ee2294de6e96b41a">
  <xsd:schema xmlns:xsd="http://www.w3.org/2001/XMLSchema" xmlns:xs="http://www.w3.org/2001/XMLSchema" xmlns:p="http://schemas.microsoft.com/office/2006/metadata/properties" xmlns:ns2="87418d56-6b7b-418e-9a99-4dddb1e8be4a" targetNamespace="http://schemas.microsoft.com/office/2006/metadata/properties" ma:root="true" ma:fieldsID="464f1302fa8416226acc2d0a405a5dec" ns2:_="">
    <xsd:import namespace="87418d56-6b7b-418e-9a99-4dddb1e8be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418d56-6b7b-418e-9a99-4dddb1e8be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C1F0003-7C49-44AA-B5EC-787BD5B2C9D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8E74C5-FFA0-400D-A7D4-184252383432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87418d56-6b7b-418e-9a99-4dddb1e8be4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E1DFC82-5BAF-4AA3-B611-37DDE85614FE}">
  <ds:schemaRefs>
    <ds:schemaRef ds:uri="87418d56-6b7b-418e-9a99-4dddb1e8be4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048dc87-43f0-4100-9acb-ae1971c79395}" enabled="0" method="" siteId="{3048dc87-43f0-4100-9acb-ae1971c793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9</TotalTime>
  <Words>497</Words>
  <Application>Microsoft Office PowerPoint</Application>
  <PresentationFormat>Panorámica</PresentationFormat>
  <Paragraphs>144</Paragraphs>
  <Slides>20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27" baseType="lpstr">
      <vt:lpstr>Avenir Book</vt:lpstr>
      <vt:lpstr>Liberation Serif</vt:lpstr>
      <vt:lpstr>Century Gothic</vt:lpstr>
      <vt:lpstr>Arial</vt:lpstr>
      <vt:lpstr>Calibri</vt:lpstr>
      <vt:lpstr>1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ucia Balboa Montero</dc:creator>
  <cp:lastModifiedBy>David Pastor Puyuelo</cp:lastModifiedBy>
  <cp:revision>100</cp:revision>
  <dcterms:created xsi:type="dcterms:W3CDTF">2018-12-10T09:47:10Z</dcterms:created>
  <dcterms:modified xsi:type="dcterms:W3CDTF">2022-12-21T15:1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54F74B27F0B543BB9CB388FEC6B86C</vt:lpwstr>
  </property>
</Properties>
</file>